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drawings/drawing2.xml" ContentType="application/vnd.openxmlformats-officedocument.drawingml.chartshapes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7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8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9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6.xml" ContentType="application/vnd.openxmlformats-officedocument.presentationml.tags+xml"/>
  <Override PartName="/ppt/charts/chart10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7.xml" ContentType="application/vnd.openxmlformats-officedocument.presentationml.tags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omments/modernComment_7FFFD4BA_CE2BA692.xml" ContentType="application/vnd.ms-powerpoint.comments+xml"/>
  <Override PartName="/ppt/comments/modernComment_7FFFD4BE_AC7088C8.xml" ContentType="application/vnd.ms-powerpoint.comment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60" r:id="rId1"/>
    <p:sldMasterId id="2147483815" r:id="rId2"/>
    <p:sldMasterId id="2147483817" r:id="rId3"/>
  </p:sldMasterIdLst>
  <p:notesMasterIdLst>
    <p:notesMasterId r:id="rId33"/>
  </p:notesMasterIdLst>
  <p:handoutMasterIdLst>
    <p:handoutMasterId r:id="rId34"/>
  </p:handoutMasterIdLst>
  <p:sldIdLst>
    <p:sldId id="2147375039" r:id="rId4"/>
    <p:sldId id="2147472567" r:id="rId5"/>
    <p:sldId id="2147472568" r:id="rId6"/>
    <p:sldId id="2147375040" r:id="rId7"/>
    <p:sldId id="2147472570" r:id="rId8"/>
    <p:sldId id="2147375048" r:id="rId9"/>
    <p:sldId id="588" r:id="rId10"/>
    <p:sldId id="2147472581" r:id="rId11"/>
    <p:sldId id="2147472578" r:id="rId12"/>
    <p:sldId id="2147472582" r:id="rId13"/>
    <p:sldId id="590" r:id="rId14"/>
    <p:sldId id="592" r:id="rId15"/>
    <p:sldId id="2147472583" r:id="rId16"/>
    <p:sldId id="2147472574" r:id="rId17"/>
    <p:sldId id="2147472584" r:id="rId18"/>
    <p:sldId id="2147472580" r:id="rId19"/>
    <p:sldId id="2147472585" r:id="rId20"/>
    <p:sldId id="2147472569" r:id="rId21"/>
    <p:sldId id="2147472577" r:id="rId22"/>
    <p:sldId id="2147472586" r:id="rId23"/>
    <p:sldId id="2147472566" r:id="rId24"/>
    <p:sldId id="2147375043" r:id="rId25"/>
    <p:sldId id="2147472563" r:id="rId26"/>
    <p:sldId id="2147472502" r:id="rId27"/>
    <p:sldId id="2147469562" r:id="rId28"/>
    <p:sldId id="2147469565" r:id="rId29"/>
    <p:sldId id="2147472565" r:id="rId30"/>
    <p:sldId id="2147375050" r:id="rId31"/>
    <p:sldId id="597" r:id="rId32"/>
  </p:sldIdLst>
  <p:sldSz cx="12192000" cy="6858000"/>
  <p:notesSz cx="6858000" cy="9144000"/>
  <p:embeddedFontLst>
    <p:embeddedFont>
      <p:font typeface="Calibri" panose="020F0502020204030204" pitchFamily="34" charset="0"/>
      <p:regular r:id="rId35"/>
      <p:bold r:id="rId36"/>
      <p:italic r:id="rId37"/>
      <p:boldItalic r:id="rId38"/>
    </p:embeddedFont>
    <p:embeddedFont>
      <p:font typeface="KPMG Bold" panose="020B0803030202040204" pitchFamily="34" charset="0"/>
      <p:bold r:id="rId39"/>
      <p:boldItalic r:id="rId40"/>
    </p:embeddedFont>
  </p:embeddedFontLst>
  <p:custDataLst>
    <p:tags r:id="rId4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D0A588E-6BF1-5E7F-3FC1-686511824868}" name="McGovern, Terence" initials="MT" userId="S::terence.mcgovern@kpmg.ie::14c41214-40dc-4a78-8aab-4ac7ba1fc061" providerId="AD"/>
  <p188:author id="{714B9ADD-96AF-0BBB-9325-4367DE446A50}" name="Skaar, Tarjei" initials="ST" userId="S::tarjei.skaar@kpmg.ie::1dc20835-0a39-4d0f-9f8d-a9aada767d5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hite, Catherine" initials="WC" lastIdx="80" clrIdx="0">
    <p:extLst>
      <p:ext uri="{19B8F6BF-5375-455C-9EA6-DF929625EA0E}">
        <p15:presenceInfo xmlns:p15="http://schemas.microsoft.com/office/powerpoint/2012/main" userId="S::cjwhite@kpmg.ca::0dea3d63-dcad-4748-a310-11ef28cac8a4" providerId="AD"/>
      </p:ext>
    </p:extLst>
  </p:cmAuthor>
  <p:cmAuthor id="2" name="Rosli, Saifun" initials="RS" lastIdx="24" clrIdx="1">
    <p:extLst>
      <p:ext uri="{19B8F6BF-5375-455C-9EA6-DF929625EA0E}">
        <p15:presenceInfo xmlns:p15="http://schemas.microsoft.com/office/powerpoint/2012/main" userId="S::Saifun.BinAhmadRosli@KPMG.co.uk::970add96-9dc8-4349-9b4f-4aeb9a30bf8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8D"/>
    <a:srgbClr val="0C233C"/>
    <a:srgbClr val="1E49E2"/>
    <a:srgbClr val="7213EA"/>
    <a:srgbClr val="006DBF"/>
    <a:srgbClr val="92D050"/>
    <a:srgbClr val="7F7F7F"/>
    <a:srgbClr val="9FE6FF"/>
    <a:srgbClr val="ACEAFF"/>
    <a:srgbClr val="E8DC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2DEC15-2A86-4563-A5EF-E68DD6D4DF50}" v="985" dt="2022-11-07T16:46:31.972"/>
    <p1510:client id="{321F2431-2194-4B62-A946-46749E4464BB}" v="1306" dt="2022-11-07T16:06:34.6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7"/>
    <p:restoredTop sz="92479"/>
  </p:normalViewPr>
  <p:slideViewPr>
    <p:cSldViewPr snapToGrid="0">
      <p:cViewPr varScale="1">
        <p:scale>
          <a:sx n="54" d="100"/>
          <a:sy n="54" d="100"/>
        </p:scale>
        <p:origin x="65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font" Target="fonts/font5.fntdata"/><Relationship Id="rId21" Type="http://schemas.openxmlformats.org/officeDocument/2006/relationships/slide" Target="slides/slide18.xml"/><Relationship Id="rId34" Type="http://schemas.openxmlformats.org/officeDocument/2006/relationships/handoutMaster" Target="handoutMasters/handoutMaster1.xml"/><Relationship Id="rId42" Type="http://schemas.openxmlformats.org/officeDocument/2006/relationships/commentAuthors" Target="commentAuthors.xml"/><Relationship Id="rId47" Type="http://schemas.microsoft.com/office/2015/10/relationships/revisionInfo" Target="revisionInfo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font" Target="fonts/font3.fntdata"/><Relationship Id="rId40" Type="http://schemas.openxmlformats.org/officeDocument/2006/relationships/font" Target="fonts/font6.fntdata"/><Relationship Id="rId45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font" Target="fonts/font2.fntdata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font" Target="fonts/font1.fntdata"/><Relationship Id="rId43" Type="http://schemas.openxmlformats.org/officeDocument/2006/relationships/presProps" Target="presProps.xml"/><Relationship Id="rId48" Type="http://schemas.microsoft.com/office/2018/10/relationships/authors" Target="author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notesMaster" Target="notesMasters/notesMaster1.xml"/><Relationship Id="rId38" Type="http://schemas.openxmlformats.org/officeDocument/2006/relationships/font" Target="fonts/font4.fntdata"/><Relationship Id="rId46" Type="http://schemas.openxmlformats.org/officeDocument/2006/relationships/tableStyles" Target="tableStyles.xml"/><Relationship Id="rId20" Type="http://schemas.openxmlformats.org/officeDocument/2006/relationships/slide" Target="slides/slide17.xml"/><Relationship Id="rId41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/ie\shares\SP\CF\Shared\CorporateFinanceCommon\Jobs\Active%20Clients\Renewable%20Gas%20Forum%20Ireland\Project%20Clover\06%20Workstream%201%20-%20Industry%20Development\Subsidy%20Trajectory\Project%20Clover%20-%20Updated%20Subsidy%20Analysis_v7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/ie\shares\SP\CF\Shared\CorporateFinanceCommon\Jobs\Active%20Clients\Renewable%20Gas%20Forum%20Ireland\Project%20Clover\06%20Workstream%201%20-%20Industry%20Development\Subsidy%20Trajectory\Updated%20Subsidy%20Analysis_v0.11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onedrive-global.kpmg.com/personal/philip_connolly_kpmg_ie/Documents/Documents/Presentations/Dat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onedrive-global.kpmg.com/personal/philip_connolly_kpmg_ie/Documents/Documents/Presentations/Data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onedrive-global.kpmg.com/personal/philip_connolly_kpmg_ie/Documents/Documents/Presentations/Data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lmusselwhite\AppData\Local\Microsoft\Windows\INetCache\Content.Outlook\0QSIHAL8\changes-in-global-coal-consumption-h1-2021-h1-2022.csv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34027387392933E-2"/>
          <c:y val="0.14910142046197714"/>
          <c:w val="0.82724105909292767"/>
          <c:h val="0.69210745785306826"/>
        </c:manualLayout>
      </c:layout>
      <c:barChart>
        <c:barDir val="col"/>
        <c:grouping val="stacked"/>
        <c:varyColors val="0"/>
        <c:ser>
          <c:idx val="1"/>
          <c:order val="1"/>
          <c:tx>
            <c:v>New Plants</c:v>
          </c:tx>
          <c:invertIfNegative val="0"/>
          <c:cat>
            <c:numRef>
              <c:f>'[Project Clover - Updated Subsidy Analysis_v7.xlsx]Summary_Outputs'!$E$331:$L$331</c:f>
              <c:numCache>
                <c:formatCode>General</c:formatCode>
                <c:ptCount val="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</c:numCache>
            </c:numRef>
          </c:cat>
          <c:val>
            <c:numRef>
              <c:f>'[Project Clover - Updated Subsidy Analysis_v7.xlsx]Summary_Outputs'!$E$333:$L$333</c:f>
              <c:numCache>
                <c:formatCode>General</c:formatCode>
                <c:ptCount val="8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9</c:v>
                </c:pt>
                <c:pt idx="4">
                  <c:v>11</c:v>
                </c:pt>
                <c:pt idx="5">
                  <c:v>16</c:v>
                </c:pt>
                <c:pt idx="6">
                  <c:v>36</c:v>
                </c:pt>
                <c:pt idx="7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60-4FF7-82B1-4F990EC0D6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40595359"/>
        <c:axId val="22720495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Project Clover - Updated Subsidy Analysis_v7.xlsx]Summary_Outputs'!$B$337</c15:sqref>
                        </c15:formulaRef>
                      </c:ext>
                    </c:extLst>
                    <c:strCache>
                      <c:ptCount val="1"/>
                      <c:pt idx="0">
                        <c:v>Low</c:v>
                      </c:pt>
                    </c:strCache>
                  </c:strRef>
                </c:tx>
                <c:spPr>
                  <a:solidFill>
                    <a:srgbClr val="00338D"/>
                  </a:solidFill>
                  <a:ln w="3175">
                    <a:solidFill>
                      <a:srgbClr val="FFFFFF"/>
                    </a:solidFill>
                    <a:prstDash val="solid"/>
                  </a:ln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'[Project Clover - Updated Subsidy Analysis_v7.xlsx]Summary_Outputs'!$E$331:$L$331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23</c:v>
                      </c:pt>
                      <c:pt idx="1">
                        <c:v>2024</c:v>
                      </c:pt>
                      <c:pt idx="2">
                        <c:v>2025</c:v>
                      </c:pt>
                      <c:pt idx="3">
                        <c:v>2026</c:v>
                      </c:pt>
                      <c:pt idx="4">
                        <c:v>2027</c:v>
                      </c:pt>
                      <c:pt idx="5">
                        <c:v>2028</c:v>
                      </c:pt>
                      <c:pt idx="6">
                        <c:v>2029</c:v>
                      </c:pt>
                      <c:pt idx="7">
                        <c:v>203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Project Clover - Updated Subsidy Analysis_v7.xlsx]Summary_Outputs'!$E$337:$L$337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</c:v>
                      </c:pt>
                      <c:pt idx="1">
                        <c:v>3</c:v>
                      </c:pt>
                      <c:pt idx="2">
                        <c:v>4</c:v>
                      </c:pt>
                      <c:pt idx="3">
                        <c:v>5</c:v>
                      </c:pt>
                      <c:pt idx="4">
                        <c:v>6</c:v>
                      </c:pt>
                      <c:pt idx="5">
                        <c:v>8</c:v>
                      </c:pt>
                      <c:pt idx="6">
                        <c:v>19</c:v>
                      </c:pt>
                      <c:pt idx="7">
                        <c:v>23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A060-4FF7-82B1-4F990EC0D6A5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Project Clover - Updated Subsidy Analysis_v7.xlsx]Summary_Outputs'!$B$339</c15:sqref>
                        </c15:formulaRef>
                      </c:ext>
                    </c:extLst>
                    <c:strCache>
                      <c:ptCount val="1"/>
                      <c:pt idx="0">
                        <c:v>High</c:v>
                      </c:pt>
                    </c:strCache>
                  </c:strRef>
                </c:tx>
                <c:spPr>
                  <a:solidFill>
                    <a:srgbClr val="6D2077"/>
                  </a:solidFill>
                  <a:ln w="3175">
                    <a:solidFill>
                      <a:srgbClr val="FFFFFF"/>
                    </a:solidFill>
                    <a:prstDash val="solid"/>
                  </a:ln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Project Clover - Updated Subsidy Analysis_v7.xlsx]Summary_Outputs'!$E$331:$L$331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023</c:v>
                      </c:pt>
                      <c:pt idx="1">
                        <c:v>2024</c:v>
                      </c:pt>
                      <c:pt idx="2">
                        <c:v>2025</c:v>
                      </c:pt>
                      <c:pt idx="3">
                        <c:v>2026</c:v>
                      </c:pt>
                      <c:pt idx="4">
                        <c:v>2027</c:v>
                      </c:pt>
                      <c:pt idx="5">
                        <c:v>2028</c:v>
                      </c:pt>
                      <c:pt idx="6">
                        <c:v>2029</c:v>
                      </c:pt>
                      <c:pt idx="7">
                        <c:v>203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Project Clover - Updated Subsidy Analysis_v7.xlsx]Summary_Outputs'!$E$339:$L$339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5</c:v>
                      </c:pt>
                      <c:pt idx="4">
                        <c:v>7</c:v>
                      </c:pt>
                      <c:pt idx="5">
                        <c:v>13</c:v>
                      </c:pt>
                      <c:pt idx="6">
                        <c:v>15</c:v>
                      </c:pt>
                      <c:pt idx="7">
                        <c:v>3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A060-4FF7-82B1-4F990EC0D6A5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3"/>
          <c:order val="3"/>
          <c:tx>
            <c:v>Total Energy (GWh)</c:v>
          </c:tx>
          <c:spPr>
            <a:ln>
              <a:solidFill>
                <a:schemeClr val="accent4"/>
              </a:solidFill>
            </a:ln>
          </c:spPr>
          <c:marker>
            <c:symbol val="circle"/>
            <c:size val="6"/>
            <c:spPr>
              <a:solidFill>
                <a:schemeClr val="accent4"/>
              </a:solidFill>
              <a:ln>
                <a:noFill/>
              </a:ln>
            </c:spPr>
          </c:marker>
          <c:val>
            <c:numRef>
              <c:f>'[Project Clover - Updated Subsidy Analysis_v7.xlsx]Summary_Outputs'!$E$343:$L$343</c:f>
              <c:numCache>
                <c:formatCode>#,##0;\(#,##0\);\-\-</c:formatCode>
                <c:ptCount val="8"/>
                <c:pt idx="0">
                  <c:v>40</c:v>
                </c:pt>
                <c:pt idx="1">
                  <c:v>100</c:v>
                </c:pt>
                <c:pt idx="2">
                  <c:v>180</c:v>
                </c:pt>
                <c:pt idx="3">
                  <c:v>360</c:v>
                </c:pt>
                <c:pt idx="4">
                  <c:v>580</c:v>
                </c:pt>
                <c:pt idx="5">
                  <c:v>900</c:v>
                </c:pt>
                <c:pt idx="6">
                  <c:v>1620</c:v>
                </c:pt>
                <c:pt idx="7">
                  <c:v>25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060-4FF7-82B1-4F990EC0D6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639951"/>
        <c:axId val="1002526895"/>
        <c:extLst>
          <c:ext xmlns:c15="http://schemas.microsoft.com/office/drawing/2012/chart" uri="{02D57815-91ED-43cb-92C2-25804820EDAC}">
            <c15:filteredLineSeries>
              <c15:ser>
                <c:idx val="4"/>
                <c:order val="4"/>
                <c:tx>
                  <c:v>Article 23</c:v>
                </c:tx>
                <c:marker>
                  <c:symbol val="none"/>
                </c:marker>
                <c:val>
                  <c:numRef>
                    <c:extLst>
                      <c:ext uri="{02D57815-91ED-43cb-92C2-25804820EDAC}">
                        <c15:formulaRef>
                          <c15:sqref>'[Project Clover - Updated Subsidy Analysis_v7.xlsx]Summary_Outputs'!$E$346:$L$346</c15:sqref>
                        </c15:formulaRef>
                      </c:ext>
                    </c:extLst>
                    <c:numCache>
                      <c:formatCode>0</c:formatCode>
                      <c:ptCount val="8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287.053</c:v>
                      </c:pt>
                      <c:pt idx="4">
                        <c:v>529.94399999999996</c:v>
                      </c:pt>
                      <c:pt idx="5">
                        <c:v>772.83500000000004</c:v>
                      </c:pt>
                      <c:pt idx="6">
                        <c:v>1015.7260000000001</c:v>
                      </c:pt>
                      <c:pt idx="7">
                        <c:v>1258.6170000000002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4-A060-4FF7-82B1-4F990EC0D6A5}"/>
                  </c:ext>
                </c:extLst>
              </c15:ser>
            </c15:filteredLineSeries>
          </c:ext>
        </c:extLst>
      </c:lineChart>
      <c:catAx>
        <c:axId val="4059535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/>
          <a:lstStyle/>
          <a:p>
            <a:pPr>
              <a:defRPr sz="1100">
                <a:solidFill>
                  <a:srgbClr val="000000"/>
                </a:solidFill>
              </a:defRPr>
            </a:pPr>
            <a:endParaRPr lang="en-US"/>
          </a:p>
        </c:txPr>
        <c:crossAx val="22720495"/>
        <c:crosses val="autoZero"/>
        <c:auto val="1"/>
        <c:lblAlgn val="ctr"/>
        <c:lblOffset val="100"/>
        <c:noMultiLvlLbl val="0"/>
      </c:catAx>
      <c:valAx>
        <c:axId val="22720495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200">
                    <a:solidFill>
                      <a:srgbClr val="000000"/>
                    </a:solidFill>
                  </a:defRPr>
                </a:pPr>
                <a:r>
                  <a:rPr lang="en-IE" sz="1200"/>
                  <a:t>New</a:t>
                </a:r>
                <a:r>
                  <a:rPr lang="en-IE" sz="1200" baseline="0"/>
                  <a:t> plants per annum</a:t>
                </a:r>
                <a:endParaRPr lang="en-IE" sz="1200"/>
              </a:p>
            </c:rich>
          </c:tx>
          <c:layout>
            <c:manualLayout>
              <c:xMode val="edge"/>
              <c:yMode val="edge"/>
              <c:x val="2.2476818973722907E-2"/>
              <c:y val="0.22335443534674448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/>
          <a:lstStyle/>
          <a:p>
            <a:pPr>
              <a:defRPr sz="1100">
                <a:solidFill>
                  <a:srgbClr val="000000"/>
                </a:solidFill>
              </a:defRPr>
            </a:pPr>
            <a:endParaRPr lang="en-US"/>
          </a:p>
        </c:txPr>
        <c:crossAx val="40595359"/>
        <c:crosses val="autoZero"/>
        <c:crossBetween val="between"/>
      </c:valAx>
      <c:valAx>
        <c:axId val="1002526895"/>
        <c:scaling>
          <c:orientation val="minMax"/>
        </c:scaling>
        <c:delete val="0"/>
        <c:axPos val="r"/>
        <c:title>
          <c:tx>
            <c:rich>
              <a:bodyPr rot="5400000" vert="horz"/>
              <a:lstStyle/>
              <a:p>
                <a:pPr>
                  <a:defRPr sz="1200"/>
                </a:pPr>
                <a:r>
                  <a:rPr lang="en-IE" sz="1200"/>
                  <a:t>GWh produced per annum</a:t>
                </a:r>
              </a:p>
            </c:rich>
          </c:tx>
          <c:layout>
            <c:manualLayout>
              <c:xMode val="edge"/>
              <c:yMode val="edge"/>
              <c:x val="0.96745914574458725"/>
              <c:y val="0.28055542033300285"/>
            </c:manualLayout>
          </c:layout>
          <c:overlay val="0"/>
        </c:title>
        <c:numFmt formatCode="#,##0;\(#,##0\);\-\-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31639951"/>
        <c:crosses val="max"/>
        <c:crossBetween val="between"/>
      </c:valAx>
      <c:catAx>
        <c:axId val="31639951"/>
        <c:scaling>
          <c:orientation val="minMax"/>
        </c:scaling>
        <c:delete val="1"/>
        <c:axPos val="b"/>
        <c:majorTickMark val="out"/>
        <c:minorTickMark val="none"/>
        <c:tickLblPos val="nextTo"/>
        <c:crossAx val="1002526895"/>
        <c:crosses val="autoZero"/>
        <c:auto val="1"/>
        <c:lblAlgn val="ctr"/>
        <c:lblOffset val="100"/>
        <c:noMultiLvlLbl val="0"/>
      </c:cat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23697186687352817"/>
          <c:y val="0.90367347163691447"/>
          <c:w val="0.57568266131817991"/>
          <c:h val="6.6718600258401289E-2"/>
        </c:manualLayout>
      </c:layout>
      <c:overlay val="0"/>
      <c:spPr>
        <a:noFill/>
        <a:ln w="25400">
          <a:noFill/>
        </a:ln>
      </c:spPr>
      <c:txPr>
        <a:bodyPr/>
        <a:lstStyle/>
        <a:p>
          <a:pPr>
            <a:defRPr sz="1200">
              <a:solidFill>
                <a:srgbClr val="000000"/>
              </a:solidFill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6350">
      <a:noFill/>
    </a:ln>
  </c:spPr>
  <c:txPr>
    <a:bodyPr/>
    <a:lstStyle/>
    <a:p>
      <a:pPr>
        <a:defRPr sz="800" b="0" i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Capital Invested ($B)</c:v>
                </c:pt>
              </c:strCache>
            </c:strRef>
          </c:tx>
          <c:spPr>
            <a:solidFill>
              <a:srgbClr val="005EB8"/>
            </a:solidFill>
            <a:ln>
              <a:noFill/>
            </a:ln>
            <a:effectLst/>
          </c:spPr>
          <c:invertIfNegative val="0"/>
          <c:dPt>
            <c:idx val="12"/>
            <c:invertIfNegative val="0"/>
            <c:bubble3D val="0"/>
            <c:spPr>
              <a:pattFill prst="trellis">
                <a:fgClr>
                  <a:srgbClr val="005EB8"/>
                </a:fgClr>
                <a:bgClr>
                  <a:schemeClr val="bg1"/>
                </a:bgClr>
              </a:pattFill>
              <a:ln w="28575" cap="rnd">
                <a:noFill/>
                <a:prstDash val="sys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167F-469C-B7D5-B4F16A39DA43}"/>
              </c:ext>
            </c:extLst>
          </c:dPt>
          <c:dLbls>
            <c:dLbl>
              <c:idx val="10"/>
              <c:layout>
                <c:manualLayout>
                  <c:x val="-5.2951639280627962E-3"/>
                  <c:y val="-1.487780480603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67F-469C-B7D5-B4F16A39DA43}"/>
                </c:ext>
              </c:extLst>
            </c:dLbl>
            <c:dLbl>
              <c:idx val="11"/>
              <c:layout>
                <c:manualLayout>
                  <c:x val="4.6202699828254716E-4"/>
                  <c:y val="-4.235483085729466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67F-469C-B7D5-B4F16A39DA43}"/>
                </c:ext>
              </c:extLst>
            </c:dLbl>
            <c:dLbl>
              <c:idx val="12"/>
              <c:layout>
                <c:manualLayout>
                  <c:x val="-2.3407474359710741E-3"/>
                  <c:y val="2.734292223567684E-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67F-469C-B7D5-B4F16A39DA43}"/>
                </c:ext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4</c:f>
              <c:strCach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May-22</c:v>
                </c:pt>
              </c:strCache>
            </c:strRef>
          </c:cat>
          <c:val>
            <c:numRef>
              <c:f>Sheet1!$C$2:$C$14</c:f>
              <c:numCache>
                <c:formatCode>0.0</c:formatCode>
                <c:ptCount val="13"/>
                <c:pt idx="0">
                  <c:v>1.30444</c:v>
                </c:pt>
                <c:pt idx="1">
                  <c:v>1.53735</c:v>
                </c:pt>
                <c:pt idx="2">
                  <c:v>1.0243</c:v>
                </c:pt>
                <c:pt idx="3">
                  <c:v>1.37327</c:v>
                </c:pt>
                <c:pt idx="4">
                  <c:v>1.9288399999999999</c:v>
                </c:pt>
                <c:pt idx="5">
                  <c:v>3.1598899999999999</c:v>
                </c:pt>
                <c:pt idx="6">
                  <c:v>6.7741000000000007</c:v>
                </c:pt>
                <c:pt idx="7">
                  <c:v>11.811209999999999</c:v>
                </c:pt>
                <c:pt idx="8">
                  <c:v>17.830290000000002</c:v>
                </c:pt>
                <c:pt idx="9">
                  <c:v>13.770670000000001</c:v>
                </c:pt>
                <c:pt idx="10">
                  <c:v>15.74484</c:v>
                </c:pt>
                <c:pt idx="11">
                  <c:v>34.921879999999994</c:v>
                </c:pt>
                <c:pt idx="12">
                  <c:v>9.47586000000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67F-469C-B7D5-B4F16A39DA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3"/>
        <c:axId val="1968351712"/>
        <c:axId val="1968341312"/>
      </c:barChart>
      <c:catAx>
        <c:axId val="19683517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68341312"/>
        <c:crosses val="autoZero"/>
        <c:auto val="1"/>
        <c:lblAlgn val="ctr"/>
        <c:lblOffset val="100"/>
        <c:noMultiLvlLbl val="0"/>
      </c:catAx>
      <c:valAx>
        <c:axId val="1968341312"/>
        <c:scaling>
          <c:orientation val="minMax"/>
        </c:scaling>
        <c:delete val="0"/>
        <c:axPos val="l"/>
        <c:numFmt formatCode="0.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F2F2F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68351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Sheet1!$A$3:$A$4</c:f>
              <c:strCache>
                <c:ptCount val="2"/>
                <c:pt idx="0">
                  <c:v>Onshore Wind</c:v>
                </c:pt>
                <c:pt idx="1">
                  <c:v>AD</c:v>
                </c:pt>
              </c:strCache>
            </c:strRef>
          </c:cat>
          <c:val>
            <c:numRef>
              <c:f>Sheet1!$B$3:$B$4</c:f>
              <c:numCache>
                <c:formatCode>General</c:formatCode>
                <c:ptCount val="2"/>
                <c:pt idx="0">
                  <c:v>90</c:v>
                </c:pt>
                <c:pt idx="1">
                  <c:v>2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0D-4AF9-824A-CB1EAD7C0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06283951"/>
        <c:axId val="1206280623"/>
      </c:barChart>
      <c:catAx>
        <c:axId val="1206283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6280623"/>
        <c:crosses val="autoZero"/>
        <c:auto val="1"/>
        <c:lblAlgn val="ctr"/>
        <c:lblOffset val="100"/>
        <c:noMultiLvlLbl val="0"/>
      </c:catAx>
      <c:valAx>
        <c:axId val="12062806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0" dirty="0">
                    <a:solidFill>
                      <a:schemeClr val="tx1"/>
                    </a:solidFill>
                  </a:rPr>
                  <a:t>£/</a:t>
                </a:r>
                <a:r>
                  <a:rPr lang="en-US" sz="1200" b="0" dirty="0" err="1">
                    <a:solidFill>
                      <a:schemeClr val="tx1"/>
                    </a:solidFill>
                  </a:rPr>
                  <a:t>MWh</a:t>
                </a:r>
                <a:r>
                  <a:rPr lang="en-US" sz="1200" b="0" baseline="-25000" dirty="0" err="1">
                    <a:solidFill>
                      <a:schemeClr val="tx1"/>
                    </a:solidFill>
                  </a:rPr>
                  <a:t>e</a:t>
                </a:r>
                <a:endParaRPr lang="en-US" sz="1200" b="0" dirty="0">
                  <a:solidFill>
                    <a:schemeClr val="tx1"/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62839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200" b="1">
                <a:solidFill>
                  <a:srgbClr val="00338D"/>
                </a:solidFill>
                <a:latin typeface="Arial"/>
                <a:ea typeface="Arial"/>
                <a:cs typeface="Arial"/>
              </a:defRPr>
            </a:pPr>
            <a:r>
              <a:rPr lang="en-IE" sz="1200"/>
              <a:t>Alternative Thermal</a:t>
            </a:r>
            <a:r>
              <a:rPr lang="en-IE" sz="1200" baseline="0"/>
              <a:t> Options (€ c/kWh) </a:t>
            </a:r>
            <a:endParaRPr lang="en-IE" sz="1200" baseline="30000"/>
          </a:p>
        </c:rich>
      </c:tx>
      <c:layout>
        <c:manualLayout>
          <c:xMode val="edge"/>
          <c:yMode val="edge"/>
          <c:x val="1.9335744344287534E-2"/>
          <c:y val="3.7818924462923884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547452438884493"/>
          <c:y val="0.12248442473496854"/>
          <c:w val="0.81357057037113056"/>
          <c:h val="0.66957455228904073"/>
        </c:manualLayout>
      </c:layout>
      <c:lineChart>
        <c:grouping val="standard"/>
        <c:varyColors val="0"/>
        <c:ser>
          <c:idx val="0"/>
          <c:order val="0"/>
          <c:tx>
            <c:strRef>
              <c:f>Summary_Outputs!$B$153</c:f>
              <c:strCache>
                <c:ptCount val="1"/>
                <c:pt idx="0">
                  <c:v>Green Hydrogen </c:v>
                </c:pt>
              </c:strCache>
            </c:strRef>
          </c:tx>
          <c:spPr>
            <a:ln w="19050">
              <a:solidFill>
                <a:srgbClr val="00338D"/>
              </a:solidFill>
              <a:prstDash val="solid"/>
            </a:ln>
          </c:spPr>
          <c:marker>
            <c:symbol val="none"/>
          </c:marker>
          <c:dLbls>
            <c:dLbl>
              <c:idx val="7"/>
              <c:layout>
                <c:manualLayout>
                  <c:x val="-6.1341914761305003E-3"/>
                  <c:y val="0"/>
                </c:manualLayout>
              </c:layout>
              <c:spPr>
                <a:solidFill>
                  <a:sysClr val="window" lastClr="FFFFFF"/>
                </a:solidFill>
                <a:ln>
                  <a:solidFill>
                    <a:sysClr val="windowText" lastClr="000000">
                      <a:lumMod val="65000"/>
                      <a:lumOff val="35000"/>
                    </a:sysClr>
                  </a:solidFill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343-4648-9C5D-639A034EA42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ummary_Outputs!$E$149:$L$149</c:f>
              <c:numCache>
                <c:formatCode>General</c:formatCode>
                <c:ptCount val="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</c:numCache>
            </c:numRef>
          </c:cat>
          <c:val>
            <c:numRef>
              <c:f>Summary_Outputs!$E$153:$L$153</c:f>
              <c:numCache>
                <c:formatCode>General</c:formatCode>
                <c:ptCount val="8"/>
                <c:pt idx="0">
                  <c:v>16</c:v>
                </c:pt>
                <c:pt idx="1">
                  <c:v>15.8</c:v>
                </c:pt>
                <c:pt idx="2">
                  <c:v>15.600000000000001</c:v>
                </c:pt>
                <c:pt idx="3">
                  <c:v>15.4</c:v>
                </c:pt>
                <c:pt idx="4">
                  <c:v>14.9</c:v>
                </c:pt>
                <c:pt idx="5">
                  <c:v>14.4</c:v>
                </c:pt>
                <c:pt idx="6">
                  <c:v>13.9</c:v>
                </c:pt>
                <c:pt idx="7">
                  <c:v>13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43-4648-9C5D-639A034EA425}"/>
            </c:ext>
          </c:extLst>
        </c:ser>
        <c:ser>
          <c:idx val="2"/>
          <c:order val="1"/>
          <c:tx>
            <c:strRef>
              <c:f>Summary_Outputs!$B$155</c:f>
              <c:strCache>
                <c:ptCount val="1"/>
                <c:pt idx="0">
                  <c:v>Biomass </c:v>
                </c:pt>
              </c:strCache>
            </c:strRef>
          </c:tx>
          <c:spPr>
            <a:ln w="28575">
              <a:solidFill>
                <a:srgbClr val="6D2077"/>
              </a:solidFill>
              <a:prstDash val="solid"/>
            </a:ln>
          </c:spPr>
          <c:marker>
            <c:symbol val="none"/>
          </c:marker>
          <c:dLbls>
            <c:dLbl>
              <c:idx val="7"/>
              <c:layout>
                <c:manualLayout>
                  <c:x val="0"/>
                  <c:y val="3.46911708343699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343-4648-9C5D-639A034EA425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65000"/>
                    <a:lumOff val="35000"/>
                  </a:sysClr>
                </a:solidFill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</c15:spPr>
                <c15:showLeaderLines val="0"/>
              </c:ext>
            </c:extLst>
          </c:dLbls>
          <c:cat>
            <c:numRef>
              <c:f>Summary_Outputs!$E$149:$L$149</c:f>
              <c:numCache>
                <c:formatCode>General</c:formatCode>
                <c:ptCount val="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</c:numCache>
            </c:numRef>
          </c:cat>
          <c:val>
            <c:numRef>
              <c:f>Summary_Outputs!$E$155:$L$155</c:f>
              <c:numCache>
                <c:formatCode>0.0</c:formatCode>
                <c:ptCount val="8"/>
                <c:pt idx="0">
                  <c:v>6.8571428571428577</c:v>
                </c:pt>
                <c:pt idx="1">
                  <c:v>6.8571428571428577</c:v>
                </c:pt>
                <c:pt idx="2">
                  <c:v>6.8571428571428577</c:v>
                </c:pt>
                <c:pt idx="3">
                  <c:v>6.8571428571428577</c:v>
                </c:pt>
                <c:pt idx="4">
                  <c:v>6.8571428571428577</c:v>
                </c:pt>
                <c:pt idx="5">
                  <c:v>6.8571428571428577</c:v>
                </c:pt>
                <c:pt idx="6">
                  <c:v>6.8571428571428577</c:v>
                </c:pt>
                <c:pt idx="7">
                  <c:v>6.85714285714285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343-4648-9C5D-639A034EA425}"/>
            </c:ext>
          </c:extLst>
        </c:ser>
        <c:ser>
          <c:idx val="4"/>
          <c:order val="2"/>
          <c:tx>
            <c:strRef>
              <c:f>Summary_Outputs!$B$157</c:f>
              <c:strCache>
                <c:ptCount val="1"/>
                <c:pt idx="0">
                  <c:v>Electrical </c:v>
                </c:pt>
              </c:strCache>
            </c:strRef>
          </c:tx>
          <c:spPr>
            <a:ln w="19050">
              <a:solidFill>
                <a:srgbClr val="00A3A1"/>
              </a:solidFill>
              <a:prstDash val="solid"/>
            </a:ln>
          </c:spPr>
          <c:marker>
            <c:symbol val="none"/>
          </c:marker>
          <c:dLbls>
            <c:dLbl>
              <c:idx val="7"/>
              <c:layout>
                <c:manualLayout>
                  <c:x val="-6.1341914761305003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343-4648-9C5D-639A034EA425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65000"/>
                    <a:lumOff val="35000"/>
                  </a:sysClr>
                </a:solidFill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</c15:spPr>
                <c15:showLeaderLines val="0"/>
              </c:ext>
            </c:extLst>
          </c:dLbls>
          <c:cat>
            <c:numRef>
              <c:f>Summary_Outputs!$E$149:$L$149</c:f>
              <c:numCache>
                <c:formatCode>General</c:formatCode>
                <c:ptCount val="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</c:numCache>
            </c:numRef>
          </c:cat>
          <c:val>
            <c:numRef>
              <c:f>Summary_Outputs!$E$157:$L$157</c:f>
              <c:numCache>
                <c:formatCode>0.0</c:formatCode>
                <c:ptCount val="8"/>
                <c:pt idx="0">
                  <c:v>10.703930057166271</c:v>
                </c:pt>
                <c:pt idx="1">
                  <c:v>11.146930057166271</c:v>
                </c:pt>
                <c:pt idx="2">
                  <c:v>11.519930057166272</c:v>
                </c:pt>
                <c:pt idx="3">
                  <c:v>11.721930057166272</c:v>
                </c:pt>
                <c:pt idx="4">
                  <c:v>11.834930057166272</c:v>
                </c:pt>
                <c:pt idx="5">
                  <c:v>11.825930057166271</c:v>
                </c:pt>
                <c:pt idx="6">
                  <c:v>11.829930057166271</c:v>
                </c:pt>
                <c:pt idx="7">
                  <c:v>11.7699300571662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343-4648-9C5D-639A034EA425}"/>
            </c:ext>
          </c:extLst>
        </c:ser>
        <c:ser>
          <c:idx val="8"/>
          <c:order val="3"/>
          <c:tx>
            <c:strRef>
              <c:f>Summary_Outputs!$B$161</c:f>
              <c:strCache>
                <c:ptCount val="1"/>
                <c:pt idx="0">
                  <c:v>Biomethane (Clover)</c:v>
                </c:pt>
              </c:strCache>
            </c:strRef>
          </c:tx>
          <c:spPr>
            <a:ln w="19050">
              <a:solidFill>
                <a:srgbClr val="C6007E"/>
              </a:solidFill>
              <a:prstDash val="solid"/>
            </a:ln>
          </c:spPr>
          <c:marker>
            <c:symbol val="none"/>
          </c:marker>
          <c:dLbls>
            <c:dLbl>
              <c:idx val="7"/>
              <c:layout>
                <c:manualLayout>
                  <c:x val="1.5636458551101203E-3"/>
                  <c:y val="8.360130914518938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343-4648-9C5D-639A034EA425}"/>
                </c:ext>
              </c:extLst>
            </c:dLbl>
            <c:spPr>
              <a:solidFill>
                <a:srgbClr val="C6007E"/>
              </a:solidFill>
              <a:ln>
                <a:solidFill>
                  <a:sysClr val="windowText" lastClr="000000">
                    <a:lumMod val="65000"/>
                    <a:lumOff val="35000"/>
                  </a:sysClr>
                </a:solidFill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rgbClr val="FFFFFF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</c15:spPr>
                <c15:showLeaderLines val="0"/>
              </c:ext>
            </c:extLst>
          </c:dLbls>
          <c:cat>
            <c:numRef>
              <c:f>Summary_Outputs!$E$149:$L$149</c:f>
              <c:numCache>
                <c:formatCode>General</c:formatCode>
                <c:ptCount val="8"/>
                <c:pt idx="0">
                  <c:v>2023</c:v>
                </c:pt>
                <c:pt idx="1">
                  <c:v>2024</c:v>
                </c:pt>
                <c:pt idx="2">
                  <c:v>2025</c:v>
                </c:pt>
                <c:pt idx="3">
                  <c:v>2026</c:v>
                </c:pt>
                <c:pt idx="4">
                  <c:v>2027</c:v>
                </c:pt>
                <c:pt idx="5">
                  <c:v>2028</c:v>
                </c:pt>
                <c:pt idx="6">
                  <c:v>2029</c:v>
                </c:pt>
                <c:pt idx="7">
                  <c:v>2030</c:v>
                </c:pt>
              </c:numCache>
            </c:numRef>
          </c:cat>
          <c:val>
            <c:numRef>
              <c:f>Summary_Outputs!$E$161:$L$161</c:f>
              <c:numCache>
                <c:formatCode>0.0</c:formatCode>
                <c:ptCount val="8"/>
                <c:pt idx="0">
                  <c:v>7.9</c:v>
                </c:pt>
                <c:pt idx="1">
                  <c:v>7.9</c:v>
                </c:pt>
                <c:pt idx="2">
                  <c:v>7.7000000000000011</c:v>
                </c:pt>
                <c:pt idx="3">
                  <c:v>8.5</c:v>
                </c:pt>
                <c:pt idx="4">
                  <c:v>8.1</c:v>
                </c:pt>
                <c:pt idx="5">
                  <c:v>7.9</c:v>
                </c:pt>
                <c:pt idx="6">
                  <c:v>7.5</c:v>
                </c:pt>
                <c:pt idx="7">
                  <c:v>7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8343-4648-9C5D-639A034EA4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89552712"/>
        <c:axId val="289555456"/>
      </c:lineChart>
      <c:catAx>
        <c:axId val="2895527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/>
          <a:lstStyle/>
          <a:p>
            <a:pPr>
              <a:defRPr sz="1050">
                <a:solidFill>
                  <a:srgbClr val="000000"/>
                </a:solidFill>
              </a:defRPr>
            </a:pPr>
            <a:endParaRPr lang="en-US"/>
          </a:p>
        </c:txPr>
        <c:crossAx val="289555456"/>
        <c:crosses val="autoZero"/>
        <c:auto val="1"/>
        <c:lblAlgn val="ctr"/>
        <c:lblOffset val="100"/>
        <c:noMultiLvlLbl val="0"/>
      </c:catAx>
      <c:valAx>
        <c:axId val="289555456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200">
                    <a:solidFill>
                      <a:srgbClr val="000000"/>
                    </a:solidFill>
                  </a:defRPr>
                </a:pPr>
                <a:r>
                  <a:rPr lang="en-IE" sz="1200"/>
                  <a:t>€ c/kWh</a:t>
                </a:r>
              </a:p>
            </c:rich>
          </c:tx>
          <c:layout>
            <c:manualLayout>
              <c:xMode val="edge"/>
              <c:yMode val="edge"/>
              <c:x val="4.3310247635788855E-2"/>
              <c:y val="0.4025015487335206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/>
          <a:lstStyle/>
          <a:p>
            <a:pPr>
              <a:defRPr sz="1100">
                <a:solidFill>
                  <a:srgbClr val="000000"/>
                </a:solidFill>
              </a:defRPr>
            </a:pPr>
            <a:endParaRPr lang="en-US"/>
          </a:p>
        </c:txPr>
        <c:crossAx val="289552712"/>
        <c:crosses val="autoZero"/>
        <c:crossBetween val="midCat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7.4281677725519094E-2"/>
          <c:y val="0.8645150450031247"/>
          <c:w val="0.9087481057061263"/>
          <c:h val="0.13425452110603708"/>
        </c:manualLayout>
      </c:layout>
      <c:overlay val="0"/>
      <c:spPr>
        <a:noFill/>
        <a:ln w="25400">
          <a:noFill/>
        </a:ln>
      </c:spPr>
      <c:txPr>
        <a:bodyPr/>
        <a:lstStyle/>
        <a:p>
          <a:pPr>
            <a:defRPr sz="900">
              <a:solidFill>
                <a:srgbClr val="000000"/>
              </a:solidFill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6350">
      <a:noFill/>
    </a:ln>
  </c:spPr>
  <c:txPr>
    <a:bodyPr/>
    <a:lstStyle/>
    <a:p>
      <a:pPr>
        <a:defRPr sz="800" b="0" i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200" b="1" i="0" u="none" strike="noStrike" kern="1200" spc="0" baseline="0">
                <a:solidFill>
                  <a:schemeClr val="tx2"/>
                </a:solidFill>
                <a:latin typeface="Arial"/>
                <a:ea typeface="Arial"/>
                <a:cs typeface="Arial"/>
              </a:defRPr>
            </a:pPr>
            <a:r>
              <a:rPr lang="en-IE" sz="1200" b="1">
                <a:solidFill>
                  <a:schemeClr val="tx2"/>
                </a:solidFill>
              </a:rPr>
              <a:t>Historically, biomethane has cost multiples of fossil gas, following</a:t>
            </a:r>
            <a:r>
              <a:rPr lang="en-IE" sz="1200" b="1" baseline="0">
                <a:solidFill>
                  <a:schemeClr val="tx2"/>
                </a:solidFill>
              </a:rPr>
              <a:t> Russia’s invasion of Ukraine, </a:t>
            </a:r>
            <a:r>
              <a:rPr lang="en-IE" sz="1200" b="1">
                <a:solidFill>
                  <a:schemeClr val="tx2"/>
                </a:solidFill>
              </a:rPr>
              <a:t>it is </a:t>
            </a:r>
            <a:r>
              <a:rPr lang="en-IE" sz="1200" b="1" i="0" u="none" strike="noStrike" baseline="0">
                <a:effectLst/>
              </a:rPr>
              <a:t>now </a:t>
            </a:r>
            <a:r>
              <a:rPr lang="en-IE" sz="1200" b="1">
                <a:solidFill>
                  <a:schemeClr val="tx2"/>
                </a:solidFill>
              </a:rPr>
              <a:t>cheaper.</a:t>
            </a:r>
          </a:p>
        </c:rich>
      </c:tx>
      <c:layout>
        <c:manualLayout>
          <c:xMode val="edge"/>
          <c:yMode val="edge"/>
          <c:x val="0.15665557516099851"/>
          <c:y val="3.499842038902634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200" b="1" i="0" u="none" strike="noStrike" kern="1200" spc="0" baseline="0">
              <a:solidFill>
                <a:schemeClr val="tx2"/>
              </a:solidFill>
              <a:latin typeface="Arial"/>
              <a:ea typeface="Arial"/>
              <a:cs typeface="Arial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783824521934759"/>
          <c:y val="0.15212491052254831"/>
          <c:w val="0.81839617547806509"/>
          <c:h val="0.6001012884753042"/>
        </c:manualLayout>
      </c:layout>
      <c:lineChart>
        <c:grouping val="standard"/>
        <c:varyColors val="0"/>
        <c:ser>
          <c:idx val="1"/>
          <c:order val="1"/>
          <c:tx>
            <c:strRef>
              <c:f>Sheet1!$D$4</c:f>
              <c:strCache>
                <c:ptCount val="1"/>
                <c:pt idx="0">
                  <c:v>NBP p/kWh</c:v>
                </c:pt>
              </c:strCache>
            </c:strRef>
          </c:tx>
          <c:spPr>
            <a:ln w="50800" cap="rnd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diamond"/>
            <c:size val="3"/>
            <c:spPr>
              <a:solidFill>
                <a:srgbClr val="00338D"/>
              </a:solidFill>
              <a:ln w="9525">
                <a:solidFill>
                  <a:schemeClr val="accent1"/>
                </a:solidFill>
                <a:prstDash val="solid"/>
              </a:ln>
              <a:effectLst/>
            </c:spPr>
          </c:marker>
          <c:cat>
            <c:numRef>
              <c:f>Sheet1!$B$5:$B$28</c:f>
              <c:numCache>
                <c:formatCode>mmm\-yy</c:formatCode>
                <c:ptCount val="24"/>
                <c:pt idx="0">
                  <c:v>44075</c:v>
                </c:pt>
                <c:pt idx="1">
                  <c:v>44105</c:v>
                </c:pt>
                <c:pt idx="2">
                  <c:v>44136</c:v>
                </c:pt>
                <c:pt idx="3">
                  <c:v>44166</c:v>
                </c:pt>
                <c:pt idx="4">
                  <c:v>44197</c:v>
                </c:pt>
                <c:pt idx="5">
                  <c:v>44228</c:v>
                </c:pt>
                <c:pt idx="6">
                  <c:v>44256</c:v>
                </c:pt>
                <c:pt idx="7">
                  <c:v>44287</c:v>
                </c:pt>
                <c:pt idx="8">
                  <c:v>44317</c:v>
                </c:pt>
                <c:pt idx="9">
                  <c:v>44348</c:v>
                </c:pt>
                <c:pt idx="10">
                  <c:v>44378</c:v>
                </c:pt>
                <c:pt idx="11">
                  <c:v>44409</c:v>
                </c:pt>
                <c:pt idx="12">
                  <c:v>44440</c:v>
                </c:pt>
                <c:pt idx="13">
                  <c:v>44470</c:v>
                </c:pt>
                <c:pt idx="14">
                  <c:v>44501</c:v>
                </c:pt>
                <c:pt idx="15">
                  <c:v>44531</c:v>
                </c:pt>
                <c:pt idx="16">
                  <c:v>44562</c:v>
                </c:pt>
                <c:pt idx="17">
                  <c:v>44593</c:v>
                </c:pt>
                <c:pt idx="18">
                  <c:v>44621</c:v>
                </c:pt>
                <c:pt idx="19">
                  <c:v>44652</c:v>
                </c:pt>
                <c:pt idx="20">
                  <c:v>44682</c:v>
                </c:pt>
                <c:pt idx="21">
                  <c:v>44713</c:v>
                </c:pt>
                <c:pt idx="22">
                  <c:v>44743</c:v>
                </c:pt>
                <c:pt idx="23">
                  <c:v>44774</c:v>
                </c:pt>
              </c:numCache>
            </c:numRef>
          </c:cat>
          <c:val>
            <c:numRef>
              <c:f>Sheet1!$D$5:$D$28</c:f>
              <c:numCache>
                <c:formatCode>General</c:formatCode>
                <c:ptCount val="24"/>
                <c:pt idx="0">
                  <c:v>1.3491421530984535</c:v>
                </c:pt>
                <c:pt idx="1">
                  <c:v>1.3433401251190269</c:v>
                </c:pt>
                <c:pt idx="2">
                  <c:v>1.2498250859212083</c:v>
                </c:pt>
                <c:pt idx="3">
                  <c:v>1.3300295903426951</c:v>
                </c:pt>
                <c:pt idx="4">
                  <c:v>1.4508482906201685</c:v>
                </c:pt>
                <c:pt idx="5">
                  <c:v>1.4361725727898538</c:v>
                </c:pt>
                <c:pt idx="6">
                  <c:v>1.4617697550520306</c:v>
                </c:pt>
                <c:pt idx="7">
                  <c:v>1.5484588789799352</c:v>
                </c:pt>
                <c:pt idx="8">
                  <c:v>1.6904379165941412</c:v>
                </c:pt>
                <c:pt idx="9">
                  <c:v>1.7535776328408437</c:v>
                </c:pt>
                <c:pt idx="10">
                  <c:v>2.0146688919150448</c:v>
                </c:pt>
                <c:pt idx="11">
                  <c:v>2.1426548032259274</c:v>
                </c:pt>
                <c:pt idx="12">
                  <c:v>2.5859980000068257</c:v>
                </c:pt>
                <c:pt idx="13">
                  <c:v>3.9477680963546198</c:v>
                </c:pt>
                <c:pt idx="14">
                  <c:v>3.4641519994812304</c:v>
                </c:pt>
                <c:pt idx="15">
                  <c:v>5.3208009528977716</c:v>
                </c:pt>
                <c:pt idx="16">
                  <c:v>6.7678949901194878</c:v>
                </c:pt>
                <c:pt idx="17">
                  <c:v>8.1327367483387416</c:v>
                </c:pt>
                <c:pt idx="18">
                  <c:v>9.6869976552981036</c:v>
                </c:pt>
                <c:pt idx="19">
                  <c:v>8.5757386493561452</c:v>
                </c:pt>
                <c:pt idx="20">
                  <c:v>7.6341036378715428</c:v>
                </c:pt>
                <c:pt idx="21">
                  <c:v>11.877092569649932</c:v>
                </c:pt>
                <c:pt idx="22">
                  <c:v>13.646028511848082</c:v>
                </c:pt>
                <c:pt idx="23">
                  <c:v>15.6620625868171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142-4824-822F-E2366D1A75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4411888"/>
        <c:axId val="154399408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C$4</c15:sqref>
                        </c15:formulaRef>
                      </c:ext>
                    </c:extLst>
                    <c:strCache>
                      <c:ptCount val="1"/>
                      <c:pt idx="0">
                        <c:v>NBP p/therm</c:v>
                      </c:pt>
                    </c:strCache>
                  </c:strRef>
                </c:tx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circle"/>
                  <c:size val="5"/>
                  <c:spPr>
                    <a:solidFill>
                      <a:schemeClr val="accent1"/>
                    </a:solidFill>
                    <a:ln w="9525">
                      <a:solidFill>
                        <a:schemeClr val="accent1"/>
                      </a:solidFill>
                    </a:ln>
                    <a:effectLst/>
                  </c:spPr>
                </c:marker>
                <c:cat>
                  <c:numRef>
                    <c:extLst>
                      <c:ext uri="{02D57815-91ED-43cb-92C2-25804820EDAC}">
                        <c15:formulaRef>
                          <c15:sqref>Sheet1!$B$5:$B$28</c15:sqref>
                        </c15:formulaRef>
                      </c:ext>
                    </c:extLst>
                    <c:numCache>
                      <c:formatCode>mmm\-yy</c:formatCode>
                      <c:ptCount val="24"/>
                      <c:pt idx="0">
                        <c:v>44075</c:v>
                      </c:pt>
                      <c:pt idx="1">
                        <c:v>44105</c:v>
                      </c:pt>
                      <c:pt idx="2">
                        <c:v>44136</c:v>
                      </c:pt>
                      <c:pt idx="3">
                        <c:v>44166</c:v>
                      </c:pt>
                      <c:pt idx="4">
                        <c:v>44197</c:v>
                      </c:pt>
                      <c:pt idx="5">
                        <c:v>44228</c:v>
                      </c:pt>
                      <c:pt idx="6">
                        <c:v>44256</c:v>
                      </c:pt>
                      <c:pt idx="7">
                        <c:v>44287</c:v>
                      </c:pt>
                      <c:pt idx="8">
                        <c:v>44317</c:v>
                      </c:pt>
                      <c:pt idx="9">
                        <c:v>44348</c:v>
                      </c:pt>
                      <c:pt idx="10">
                        <c:v>44378</c:v>
                      </c:pt>
                      <c:pt idx="11">
                        <c:v>44409</c:v>
                      </c:pt>
                      <c:pt idx="12">
                        <c:v>44440</c:v>
                      </c:pt>
                      <c:pt idx="13">
                        <c:v>44470</c:v>
                      </c:pt>
                      <c:pt idx="14">
                        <c:v>44501</c:v>
                      </c:pt>
                      <c:pt idx="15">
                        <c:v>44531</c:v>
                      </c:pt>
                      <c:pt idx="16">
                        <c:v>44562</c:v>
                      </c:pt>
                      <c:pt idx="17">
                        <c:v>44593</c:v>
                      </c:pt>
                      <c:pt idx="18">
                        <c:v>44621</c:v>
                      </c:pt>
                      <c:pt idx="19">
                        <c:v>44652</c:v>
                      </c:pt>
                      <c:pt idx="20">
                        <c:v>44682</c:v>
                      </c:pt>
                      <c:pt idx="21">
                        <c:v>44713</c:v>
                      </c:pt>
                      <c:pt idx="22">
                        <c:v>44743</c:v>
                      </c:pt>
                      <c:pt idx="23">
                        <c:v>44774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C$5:$C$28</c15:sqref>
                        </c15:formulaRef>
                      </c:ext>
                    </c:extLst>
                    <c:numCache>
                      <c:formatCode>General</c:formatCode>
                      <c:ptCount val="24"/>
                      <c:pt idx="0">
                        <c:v>39.53</c:v>
                      </c:pt>
                      <c:pt idx="1">
                        <c:v>39.36</c:v>
                      </c:pt>
                      <c:pt idx="2">
                        <c:v>36.619999999999997</c:v>
                      </c:pt>
                      <c:pt idx="3">
                        <c:v>38.97</c:v>
                      </c:pt>
                      <c:pt idx="4">
                        <c:v>42.51</c:v>
                      </c:pt>
                      <c:pt idx="5">
                        <c:v>42.08</c:v>
                      </c:pt>
                      <c:pt idx="6">
                        <c:v>42.83</c:v>
                      </c:pt>
                      <c:pt idx="7">
                        <c:v>45.37</c:v>
                      </c:pt>
                      <c:pt idx="8">
                        <c:v>49.53</c:v>
                      </c:pt>
                      <c:pt idx="9">
                        <c:v>51.38</c:v>
                      </c:pt>
                      <c:pt idx="10">
                        <c:v>59.03</c:v>
                      </c:pt>
                      <c:pt idx="11">
                        <c:v>62.78</c:v>
                      </c:pt>
                      <c:pt idx="12">
                        <c:v>75.77</c:v>
                      </c:pt>
                      <c:pt idx="13">
                        <c:v>115.67</c:v>
                      </c:pt>
                      <c:pt idx="14">
                        <c:v>101.5</c:v>
                      </c:pt>
                      <c:pt idx="15">
                        <c:v>155.9</c:v>
                      </c:pt>
                      <c:pt idx="16">
                        <c:v>198.3</c:v>
                      </c:pt>
                      <c:pt idx="17">
                        <c:v>238.29</c:v>
                      </c:pt>
                      <c:pt idx="18">
                        <c:v>283.83</c:v>
                      </c:pt>
                      <c:pt idx="19">
                        <c:v>251.27</c:v>
                      </c:pt>
                      <c:pt idx="20">
                        <c:v>223.68</c:v>
                      </c:pt>
                      <c:pt idx="21">
                        <c:v>348</c:v>
                      </c:pt>
                      <c:pt idx="22">
                        <c:v>399.83</c:v>
                      </c:pt>
                      <c:pt idx="23">
                        <c:v>458.9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F142-4824-822F-E2366D1A7503}"/>
                  </c:ext>
                </c:extLst>
              </c15:ser>
            </c15:filteredLineSeries>
          </c:ext>
        </c:extLst>
      </c:lineChart>
      <c:dateAx>
        <c:axId val="15441188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low"/>
        <c:spPr>
          <a:noFill/>
          <a:ln w="3175" cap="flat" cmpd="sng" algn="ctr">
            <a:solidFill>
              <a:srgbClr val="000000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54399408"/>
        <c:crosses val="autoZero"/>
        <c:auto val="1"/>
        <c:lblOffset val="100"/>
        <c:baseTimeUnit val="months"/>
      </c:dateAx>
      <c:valAx>
        <c:axId val="154399408"/>
        <c:scaling>
          <c:orientation val="minMax"/>
          <c:max val="16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IE" sz="1200" b="0"/>
                  <a:t>€ c/kWh</a:t>
                </a:r>
              </a:p>
            </c:rich>
          </c:tx>
          <c:layout>
            <c:manualLayout>
              <c:xMode val="edge"/>
              <c:yMode val="edge"/>
              <c:x val="7.5337055630693164E-2"/>
              <c:y val="0.4024086329896581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3175">
            <a:solidFill>
              <a:srgbClr val="000000"/>
            </a:solidFill>
            <a:prstDash val="solid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54411888"/>
        <c:crosses val="autoZero"/>
        <c:crossBetween val="midCat"/>
      </c:valAx>
      <c:spPr>
        <a:noFill/>
        <a:ln w="25400">
          <a:noFill/>
        </a:ln>
        <a:effectLst/>
      </c:spPr>
    </c:plotArea>
    <c:legend>
      <c:legendPos val="r"/>
      <c:legendEntry>
        <c:idx val="0"/>
        <c:delete val="1"/>
      </c:legendEntry>
      <c:overlay val="0"/>
      <c:spPr>
        <a:noFill/>
        <a:ln w="2540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25400" cap="flat" cmpd="sng" algn="ctr">
      <a:noFill/>
      <a:round/>
    </a:ln>
    <a:effectLst/>
  </c:spPr>
  <c:txPr>
    <a:bodyPr/>
    <a:lstStyle/>
    <a:p>
      <a:pPr>
        <a:defRPr sz="1200" b="0" i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1" i="0" u="none" strike="noStrike" kern="1200" spc="0" baseline="0">
                <a:solidFill>
                  <a:srgbClr val="00338D"/>
                </a:solidFill>
                <a:latin typeface="Arial"/>
                <a:ea typeface="Arial"/>
                <a:cs typeface="Arial"/>
              </a:defRPr>
            </a:pPr>
            <a:r>
              <a:rPr lang="en-IE" sz="1600"/>
              <a:t>Europe produced 32 TWh of biomethane in 2020</a:t>
            </a:r>
          </a:p>
        </c:rich>
      </c:tx>
      <c:layout>
        <c:manualLayout>
          <c:xMode val="edge"/>
          <c:yMode val="edge"/>
          <c:x val="2.2857142857142857E-2"/>
          <c:y val="3.636363636363636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1" i="0" u="none" strike="noStrike" kern="1200" spc="0" baseline="0">
              <a:solidFill>
                <a:srgbClr val="00338D"/>
              </a:solidFill>
              <a:latin typeface="Arial"/>
              <a:ea typeface="Arial"/>
              <a:cs typeface="Arial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794510686164229"/>
          <c:y val="0.15212491052254831"/>
          <c:w val="0.77248346456692907"/>
          <c:h val="0.72850393700787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2!$C$2</c:f>
              <c:strCache>
                <c:ptCount val="1"/>
                <c:pt idx="0">
                  <c:v>TWh Biomethane production in Europe</c:v>
                </c:pt>
              </c:strCache>
            </c:strRef>
          </c:tx>
          <c:spPr>
            <a:solidFill>
              <a:srgbClr val="00338D"/>
            </a:solidFill>
            <a:ln w="3175">
              <a:solidFill>
                <a:srgbClr val="FFFFFF"/>
              </a:solidFill>
              <a:prstDash val="solid"/>
            </a:ln>
            <a:effectLst/>
          </c:spPr>
          <c:invertIfNegative val="0"/>
          <c:cat>
            <c:numRef>
              <c:f>Sheet2!$B$3:$B$12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Sheet2!$C$3:$C$12</c:f>
              <c:numCache>
                <c:formatCode>General</c:formatCode>
                <c:ptCount val="10"/>
                <c:pt idx="0">
                  <c:v>5</c:v>
                </c:pt>
                <c:pt idx="1">
                  <c:v>7</c:v>
                </c:pt>
                <c:pt idx="2">
                  <c:v>9</c:v>
                </c:pt>
                <c:pt idx="3">
                  <c:v>11</c:v>
                </c:pt>
                <c:pt idx="4">
                  <c:v>14</c:v>
                </c:pt>
                <c:pt idx="5">
                  <c:v>18</c:v>
                </c:pt>
                <c:pt idx="6">
                  <c:v>20</c:v>
                </c:pt>
                <c:pt idx="7">
                  <c:v>22</c:v>
                </c:pt>
                <c:pt idx="8">
                  <c:v>26</c:v>
                </c:pt>
                <c:pt idx="9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F9-4268-9A5B-F0B40E1746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189240911"/>
        <c:axId val="1189245903"/>
      </c:barChart>
      <c:catAx>
        <c:axId val="118924091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3175" cap="flat" cmpd="sng" algn="ctr">
            <a:solidFill>
              <a:srgbClr val="000000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89245903"/>
        <c:crosses val="autoZero"/>
        <c:auto val="1"/>
        <c:lblAlgn val="ctr"/>
        <c:lblOffset val="100"/>
        <c:noMultiLvlLbl val="0"/>
      </c:catAx>
      <c:valAx>
        <c:axId val="1189245903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IE" sz="1200" b="0"/>
                  <a:t>Annual</a:t>
                </a:r>
                <a:r>
                  <a:rPr lang="en-IE" sz="1200" b="0" baseline="0"/>
                  <a:t> biomethane production in </a:t>
                </a:r>
                <a:r>
                  <a:rPr lang="en-IE" sz="1200" b="0" err="1"/>
                  <a:t>TWh</a:t>
                </a:r>
                <a:endParaRPr lang="en-IE" sz="1200" b="0"/>
              </a:p>
            </c:rich>
          </c:tx>
          <c:layout>
            <c:manualLayout>
              <c:xMode val="edge"/>
              <c:yMode val="edge"/>
              <c:x val="5.3381789374659601E-2"/>
              <c:y val="0.2556439965729672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3175">
            <a:solidFill>
              <a:srgbClr val="000000"/>
            </a:solidFill>
            <a:prstDash val="solid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89240911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25400" cap="flat" cmpd="sng" algn="ctr">
      <a:noFill/>
      <a:round/>
    </a:ln>
    <a:effectLst/>
  </c:spPr>
  <c:txPr>
    <a:bodyPr/>
    <a:lstStyle/>
    <a:p>
      <a:pPr>
        <a:defRPr sz="800" b="0" i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1" i="0" u="none" strike="noStrike" kern="1200" spc="0" baseline="0">
                <a:solidFill>
                  <a:srgbClr val="00338D"/>
                </a:solidFill>
                <a:latin typeface="Arial"/>
                <a:ea typeface="Arial"/>
                <a:cs typeface="Arial"/>
              </a:defRPr>
            </a:pPr>
            <a:r>
              <a:rPr lang="en-IE" sz="1600" baseline="0"/>
              <a:t>Biomethane production in Europe needs to grow 10x to achieve 2030 targets</a:t>
            </a:r>
            <a:endParaRPr lang="en-IE" sz="1600"/>
          </a:p>
        </c:rich>
      </c:tx>
      <c:layout>
        <c:manualLayout>
          <c:xMode val="edge"/>
          <c:yMode val="edge"/>
          <c:x val="2.285710041592395E-2"/>
          <c:y val="3.89537444933920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1" i="0" u="none" strike="noStrike" kern="1200" spc="0" baseline="0">
              <a:solidFill>
                <a:srgbClr val="00338D"/>
              </a:solidFill>
              <a:latin typeface="Arial"/>
              <a:ea typeface="Arial"/>
              <a:cs typeface="Arial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794510686164229"/>
          <c:y val="0.15212491052254831"/>
          <c:w val="0.77248346456692907"/>
          <c:h val="0.72850393700787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2!$C$2</c:f>
              <c:strCache>
                <c:ptCount val="1"/>
                <c:pt idx="0">
                  <c:v>TWh Biomethane production in Europe</c:v>
                </c:pt>
              </c:strCache>
            </c:strRef>
          </c:tx>
          <c:spPr>
            <a:solidFill>
              <a:srgbClr val="00338D"/>
            </a:solidFill>
            <a:ln w="3175">
              <a:solidFill>
                <a:srgbClr val="FFFFFF"/>
              </a:solidFill>
              <a:prstDash val="solid"/>
            </a:ln>
            <a:effectLst/>
          </c:spPr>
          <c:invertIfNegative val="0"/>
          <c:dPt>
            <c:idx val="10"/>
            <c:invertIfNegative val="0"/>
            <c:bubble3D val="0"/>
            <c:spPr>
              <a:solidFill>
                <a:schemeClr val="accent5"/>
              </a:solidFill>
              <a:ln w="3175">
                <a:solidFill>
                  <a:schemeClr val="accent5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2-94D4-4260-BA48-1E99212E5E0A}"/>
              </c:ext>
            </c:extLst>
          </c:dPt>
          <c:cat>
            <c:numRef>
              <c:f>Sheet2!$B$3:$B$13</c:f>
              <c:numCache>
                <c:formatCode>General</c:formatCod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30</c:v>
                </c:pt>
              </c:numCache>
            </c:numRef>
          </c:cat>
          <c:val>
            <c:numRef>
              <c:f>Sheet2!$C$3:$C$13</c:f>
              <c:numCache>
                <c:formatCode>General</c:formatCode>
                <c:ptCount val="11"/>
                <c:pt idx="0">
                  <c:v>5</c:v>
                </c:pt>
                <c:pt idx="1">
                  <c:v>7</c:v>
                </c:pt>
                <c:pt idx="2">
                  <c:v>9</c:v>
                </c:pt>
                <c:pt idx="3">
                  <c:v>11</c:v>
                </c:pt>
                <c:pt idx="4">
                  <c:v>14</c:v>
                </c:pt>
                <c:pt idx="5">
                  <c:v>18</c:v>
                </c:pt>
                <c:pt idx="6">
                  <c:v>20</c:v>
                </c:pt>
                <c:pt idx="7">
                  <c:v>22</c:v>
                </c:pt>
                <c:pt idx="8">
                  <c:v>26</c:v>
                </c:pt>
                <c:pt idx="9">
                  <c:v>32</c:v>
                </c:pt>
                <c:pt idx="10">
                  <c:v>3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D4-4260-BA48-1E99212E5E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189240911"/>
        <c:axId val="1189245903"/>
      </c:barChart>
      <c:catAx>
        <c:axId val="118924091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3175" cap="flat" cmpd="sng" algn="ctr">
            <a:solidFill>
              <a:srgbClr val="000000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89245903"/>
        <c:crosses val="autoZero"/>
        <c:auto val="1"/>
        <c:lblAlgn val="ctr"/>
        <c:lblOffset val="100"/>
        <c:noMultiLvlLbl val="0"/>
      </c:catAx>
      <c:valAx>
        <c:axId val="1189245903"/>
        <c:scaling>
          <c:orientation val="minMax"/>
          <c:max val="360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IE" sz="1200" b="0"/>
                  <a:t>Annual biomethane</a:t>
                </a:r>
                <a:r>
                  <a:rPr lang="en-IE" sz="1200" b="0" baseline="0"/>
                  <a:t> production in </a:t>
                </a:r>
                <a:r>
                  <a:rPr lang="en-IE" sz="1200" b="0" baseline="0" err="1"/>
                  <a:t>TWh</a:t>
                </a:r>
                <a:endParaRPr lang="en-IE" sz="1600" b="0"/>
              </a:p>
            </c:rich>
          </c:tx>
          <c:layout>
            <c:manualLayout>
              <c:xMode val="edge"/>
              <c:yMode val="edge"/>
              <c:x val="3.8291047732224207E-2"/>
              <c:y val="0.4680492331538587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rgbClr val="000000"/>
                  </a:solidFill>
                  <a:latin typeface="Arial"/>
                  <a:ea typeface="Arial"/>
                  <a:cs typeface="Arial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3175">
            <a:solidFill>
              <a:srgbClr val="000000"/>
            </a:solidFill>
            <a:prstDash val="solid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89240911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25400" cap="flat" cmpd="sng" algn="ctr">
      <a:noFill/>
      <a:round/>
    </a:ln>
    <a:effectLst/>
  </c:spPr>
  <c:txPr>
    <a:bodyPr/>
    <a:lstStyle/>
    <a:p>
      <a:pPr>
        <a:defRPr sz="800" b="0" i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200" b="1">
                <a:solidFill>
                  <a:srgbClr val="00338D"/>
                </a:solidFill>
                <a:latin typeface="Arial"/>
                <a:ea typeface="Arial"/>
                <a:cs typeface="Arial"/>
              </a:defRPr>
            </a:pPr>
            <a:r>
              <a:rPr lang="en-IE" sz="1200" b="1"/>
              <a:t>Share of Renewable Heat in 2021</a:t>
            </a:r>
          </a:p>
        </c:rich>
      </c:tx>
      <c:layout>
        <c:manualLayout>
          <c:xMode val="edge"/>
          <c:yMode val="edge"/>
          <c:x val="2.2840827980014276E-2"/>
          <c:y val="3.6363636363636362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479888110871955"/>
          <c:y val="0.14779493799063875"/>
          <c:w val="0.82527386498832989"/>
          <c:h val="0.7733626977409003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338D"/>
            </a:solidFill>
            <a:ln w="3175">
              <a:solidFill>
                <a:srgbClr val="FFFFFF"/>
              </a:solidFill>
              <a:prstDash val="solid"/>
            </a:ln>
          </c:spPr>
          <c:invertIfNegative val="0"/>
          <c:cat>
            <c:strRef>
              <c:f>Sheet1!$A$1:$A$2</c:f>
              <c:strCache>
                <c:ptCount val="2"/>
                <c:pt idx="0">
                  <c:v>Ireland</c:v>
                </c:pt>
                <c:pt idx="1">
                  <c:v>EU Average</c:v>
                </c:pt>
              </c:strCache>
            </c:strRef>
          </c:cat>
          <c:val>
            <c:numRef>
              <c:f>Sheet1!$B$1:$B$2</c:f>
              <c:numCache>
                <c:formatCode>0%</c:formatCode>
                <c:ptCount val="2"/>
                <c:pt idx="0">
                  <c:v>6.8000000000000005E-2</c:v>
                </c:pt>
                <c:pt idx="1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5E-499E-BF6F-024B2B7E3A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188692655"/>
        <c:axId val="1188696815"/>
      </c:barChart>
      <c:catAx>
        <c:axId val="118869265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/>
          <a:lstStyle/>
          <a:p>
            <a:pPr>
              <a:defRPr sz="1200">
                <a:solidFill>
                  <a:srgbClr val="000000"/>
                </a:solidFill>
              </a:defRPr>
            </a:pPr>
            <a:endParaRPr lang="en-US"/>
          </a:p>
        </c:txPr>
        <c:crossAx val="1188696815"/>
        <c:crosses val="autoZero"/>
        <c:auto val="1"/>
        <c:lblAlgn val="ctr"/>
        <c:lblOffset val="100"/>
        <c:noMultiLvlLbl val="0"/>
      </c:catAx>
      <c:valAx>
        <c:axId val="1188696815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/>
          <a:lstStyle/>
          <a:p>
            <a:pPr>
              <a:defRPr sz="1000">
                <a:solidFill>
                  <a:srgbClr val="000000"/>
                </a:solidFill>
              </a:defRPr>
            </a:pPr>
            <a:endParaRPr lang="en-US"/>
          </a:p>
        </c:txPr>
        <c:crossAx val="1188692655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6350">
      <a:noFill/>
    </a:ln>
  </c:spPr>
  <c:txPr>
    <a:bodyPr/>
    <a:lstStyle/>
    <a:p>
      <a:pPr>
        <a:defRPr sz="800" b="0" i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SG AuM 
(in $USD Billions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_(&quot;$&quot;* #,##0_);_(&quot;$&quot;* \(#,##0\);_(&quot;$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EEAD-4276-BE01-30DB9C774CDF}"/>
                </c:ext>
              </c:extLst>
            </c:dLbl>
            <c:dLbl>
              <c:idx val="5"/>
              <c:layout>
                <c:manualLayout>
                  <c:x val="-4.207092492719991E-2"/>
                  <c:y val="-3.3397689424001967E-2"/>
                </c:manualLayout>
              </c:layout>
              <c:numFmt formatCode="_(&quot;$&quot;* #,##0_);_(&quot;$&quot;* \(#,##0\);_(&quot;$&quot;* &quot;-&quot;_);_(@_)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552-4B10-8AAE-4BFC64048B8B}"/>
                </c:ext>
              </c:extLst>
            </c:dLbl>
            <c:numFmt formatCode="_(&quot;$&quot;* #,##0_);_(&quot;$&quot;* \(#,##0\);_(&quot;$&quot;* &quot;-&quot;_);_(@_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2</c:v>
                </c:pt>
                <c:pt idx="1">
                  <c:v>2014</c:v>
                </c:pt>
                <c:pt idx="2">
                  <c:v>2016</c:v>
                </c:pt>
                <c:pt idx="3">
                  <c:v>2018</c:v>
                </c:pt>
                <c:pt idx="4">
                  <c:v>2020</c:v>
                </c:pt>
                <c:pt idx="5">
                  <c:v>2025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13261</c:v>
                </c:pt>
                <c:pt idx="1">
                  <c:v>18276</c:v>
                </c:pt>
                <c:pt idx="2">
                  <c:v>22872</c:v>
                </c:pt>
                <c:pt idx="3">
                  <c:v>30683</c:v>
                </c:pt>
                <c:pt idx="4">
                  <c:v>35301</c:v>
                </c:pt>
                <c:pt idx="5">
                  <c:v>53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0A1-46F4-8C0A-A85F626F30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92741968"/>
        <c:axId val="1892743632"/>
      </c:lineChart>
      <c:catAx>
        <c:axId val="1892741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92743632"/>
        <c:crosses val="autoZero"/>
        <c:auto val="1"/>
        <c:lblAlgn val="ctr"/>
        <c:lblOffset val="100"/>
        <c:noMultiLvlLbl val="0"/>
      </c:catAx>
      <c:valAx>
        <c:axId val="1892743632"/>
        <c:scaling>
          <c:orientation val="minMax"/>
        </c:scaling>
        <c:delete val="0"/>
        <c:axPos val="l"/>
        <c:numFmt formatCode="_(&quot;$&quot;* #,##0_);_(&quot;$&quot;* \(#,##0\);_(&quot;$&quot;* &quot;-&quot;_);_(@_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927419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4766536914297266"/>
          <c:y val="0.89045811383365869"/>
          <c:w val="0.49275865069345703"/>
          <c:h val="9.75283288195781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E" sz="1200" b="1">
                <a:solidFill>
                  <a:schemeClr val="tx2"/>
                </a:solidFill>
              </a:rPr>
              <a:t>Annual Clean Energy Investment</a:t>
            </a:r>
          </a:p>
        </c:rich>
      </c:tx>
      <c:layout>
        <c:manualLayout>
          <c:xMode val="edge"/>
          <c:yMode val="edge"/>
          <c:x val="1.7969941949521239E-2"/>
          <c:y val="1.38861429155412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Clean Energy Investment'!$A$3</c:f>
              <c:strCache>
                <c:ptCount val="1"/>
                <c:pt idx="0">
                  <c:v>Renewable Power Generati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lean Energy Investment'!$B$2:$G$2</c:f>
              <c:strCach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E</c:v>
                </c:pt>
              </c:strCache>
            </c:strRef>
          </c:cat>
          <c:val>
            <c:numRef>
              <c:f>'Clean Energy Investment'!$B$3:$G$3</c:f>
              <c:numCache>
                <c:formatCode>General</c:formatCode>
                <c:ptCount val="6"/>
                <c:pt idx="0">
                  <c:v>337</c:v>
                </c:pt>
                <c:pt idx="1">
                  <c:v>375</c:v>
                </c:pt>
                <c:pt idx="2">
                  <c:v>390</c:v>
                </c:pt>
                <c:pt idx="3">
                  <c:v>400</c:v>
                </c:pt>
                <c:pt idx="4">
                  <c:v>440</c:v>
                </c:pt>
                <c:pt idx="5">
                  <c:v>4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57-4672-8EA9-2F8EE88D62C1}"/>
            </c:ext>
          </c:extLst>
        </c:ser>
        <c:ser>
          <c:idx val="1"/>
          <c:order val="1"/>
          <c:tx>
            <c:strRef>
              <c:f>'Clean Energy Investment'!$A$4</c:f>
              <c:strCache>
                <c:ptCount val="1"/>
                <c:pt idx="0">
                  <c:v>Nuclear Generatio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lean Energy Investment'!$B$2:$G$2</c:f>
              <c:strCach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E</c:v>
                </c:pt>
              </c:strCache>
            </c:strRef>
          </c:cat>
          <c:val>
            <c:numRef>
              <c:f>'Clean Energy Investment'!$B$4:$G$4</c:f>
              <c:numCache>
                <c:formatCode>General</c:formatCode>
                <c:ptCount val="6"/>
                <c:pt idx="0">
                  <c:v>40</c:v>
                </c:pt>
                <c:pt idx="1">
                  <c:v>40</c:v>
                </c:pt>
                <c:pt idx="2">
                  <c:v>40</c:v>
                </c:pt>
                <c:pt idx="3">
                  <c:v>40</c:v>
                </c:pt>
                <c:pt idx="4">
                  <c:v>40</c:v>
                </c:pt>
                <c:pt idx="5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D57-4672-8EA9-2F8EE88D62C1}"/>
            </c:ext>
          </c:extLst>
        </c:ser>
        <c:ser>
          <c:idx val="2"/>
          <c:order val="2"/>
          <c:tx>
            <c:strRef>
              <c:f>'Clean Energy Investment'!$A$5</c:f>
              <c:strCache>
                <c:ptCount val="1"/>
                <c:pt idx="0">
                  <c:v>Energy Efficiency 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lean Energy Investment'!$B$2:$G$2</c:f>
              <c:strCach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E</c:v>
                </c:pt>
              </c:strCache>
            </c:strRef>
          </c:cat>
          <c:val>
            <c:numRef>
              <c:f>'Clean Energy Investment'!$B$5:$G$5</c:f>
              <c:numCache>
                <c:formatCode>General</c:formatCode>
                <c:ptCount val="6"/>
                <c:pt idx="0">
                  <c:v>350</c:v>
                </c:pt>
                <c:pt idx="1">
                  <c:v>350</c:v>
                </c:pt>
                <c:pt idx="2">
                  <c:v>370</c:v>
                </c:pt>
                <c:pt idx="3">
                  <c:v>350</c:v>
                </c:pt>
                <c:pt idx="4">
                  <c:v>425</c:v>
                </c:pt>
                <c:pt idx="5">
                  <c:v>4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D57-4672-8EA9-2F8EE88D62C1}"/>
            </c:ext>
          </c:extLst>
        </c:ser>
        <c:ser>
          <c:idx val="3"/>
          <c:order val="3"/>
          <c:tx>
            <c:strRef>
              <c:f>'Clean Energy Investment'!$A$6</c:f>
              <c:strCache>
                <c:ptCount val="1"/>
                <c:pt idx="0">
                  <c:v>Grids and Energy Stora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lean Energy Investment'!$B$2:$G$2</c:f>
              <c:strCach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E</c:v>
                </c:pt>
              </c:strCache>
            </c:strRef>
          </c:cat>
          <c:val>
            <c:numRef>
              <c:f>'Clean Energy Investment'!$B$6:$G$6</c:f>
              <c:numCache>
                <c:formatCode>General</c:formatCode>
                <c:ptCount val="6"/>
                <c:pt idx="0">
                  <c:v>300</c:v>
                </c:pt>
                <c:pt idx="1">
                  <c:v>300</c:v>
                </c:pt>
                <c:pt idx="2">
                  <c:v>280</c:v>
                </c:pt>
                <c:pt idx="3">
                  <c:v>270</c:v>
                </c:pt>
                <c:pt idx="4">
                  <c:v>320</c:v>
                </c:pt>
                <c:pt idx="5">
                  <c:v>3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D57-4672-8EA9-2F8EE88D62C1}"/>
            </c:ext>
          </c:extLst>
        </c:ser>
        <c:ser>
          <c:idx val="4"/>
          <c:order val="4"/>
          <c:tx>
            <c:strRef>
              <c:f>'Clean Energy Investment'!$A$7</c:f>
              <c:strCache>
                <c:ptCount val="1"/>
                <c:pt idx="0">
                  <c:v>Low-carbon fuels and CCU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lean Energy Investment'!$B$2:$G$2</c:f>
              <c:strCach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E</c:v>
                </c:pt>
              </c:strCache>
            </c:strRef>
          </c:cat>
          <c:val>
            <c:numRef>
              <c:f>'Clean Energy Investment'!$B$7:$G$7</c:f>
              <c:numCache>
                <c:formatCode>General</c:formatCode>
                <c:ptCount val="6"/>
                <c:pt idx="0">
                  <c:v>15</c:v>
                </c:pt>
                <c:pt idx="1">
                  <c:v>15</c:v>
                </c:pt>
                <c:pt idx="2">
                  <c:v>20</c:v>
                </c:pt>
                <c:pt idx="3">
                  <c:v>15</c:v>
                </c:pt>
                <c:pt idx="4">
                  <c:v>30</c:v>
                </c:pt>
                <c:pt idx="5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D57-4672-8EA9-2F8EE88D62C1}"/>
            </c:ext>
          </c:extLst>
        </c:ser>
        <c:ser>
          <c:idx val="5"/>
          <c:order val="5"/>
          <c:tx>
            <c:strRef>
              <c:f>'Clean Energy Investment'!$A$8</c:f>
              <c:strCache>
                <c:ptCount val="1"/>
                <c:pt idx="0">
                  <c:v>EV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2.08498531480815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543-4D77-8515-0098EA37522B}"/>
                </c:ext>
              </c:extLst>
            </c:dLbl>
            <c:dLbl>
              <c:idx val="1"/>
              <c:layout>
                <c:manualLayout>
                  <c:x val="-1.1937829289041166E-3"/>
                  <c:y val="-2.68069540475334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543-4D77-8515-0098EA37522B}"/>
                </c:ext>
              </c:extLst>
            </c:dLbl>
            <c:dLbl>
              <c:idx val="2"/>
              <c:layout>
                <c:manualLayout>
                  <c:x val="0"/>
                  <c:y val="-2.08498531480815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543-4D77-8515-0098EA37522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lean Energy Investment'!$B$2:$G$2</c:f>
              <c:strCach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E</c:v>
                </c:pt>
              </c:strCache>
            </c:strRef>
          </c:cat>
          <c:val>
            <c:numRef>
              <c:f>'Clean Energy Investment'!$B$8:$G$8</c:f>
              <c:numCache>
                <c:formatCode>General</c:formatCode>
                <c:ptCount val="6"/>
                <c:pt idx="0">
                  <c:v>5</c:v>
                </c:pt>
                <c:pt idx="1">
                  <c:v>10</c:v>
                </c:pt>
                <c:pt idx="2">
                  <c:v>15</c:v>
                </c:pt>
                <c:pt idx="3">
                  <c:v>30</c:v>
                </c:pt>
                <c:pt idx="4">
                  <c:v>60</c:v>
                </c:pt>
                <c:pt idx="5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D57-4672-8EA9-2F8EE88D62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00531599"/>
        <c:axId val="1000533263"/>
      </c:barChart>
      <c:catAx>
        <c:axId val="10005315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00533263"/>
        <c:crosses val="autoZero"/>
        <c:auto val="1"/>
        <c:lblAlgn val="ctr"/>
        <c:lblOffset val="100"/>
        <c:noMultiLvlLbl val="0"/>
      </c:catAx>
      <c:valAx>
        <c:axId val="1000533263"/>
        <c:scaling>
          <c:orientation val="minMax"/>
          <c:max val="15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E" sz="1200" b="1">
                    <a:solidFill>
                      <a:schemeClr val="tx1"/>
                    </a:solidFill>
                  </a:rPr>
                  <a:t>Billion USD (2021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00531599"/>
        <c:crosses val="autoZero"/>
        <c:crossBetween val="between"/>
        <c:majorUnit val="300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7FFFD4BA_CE2BA69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EA14FB6-DF38-4527-9CAF-EE79B490CA54}" authorId="{ED0A588E-6BF1-5E7F-3FC1-686511824868}" created="2022-11-07T14:47:27.568">
    <pc:sldMkLst xmlns:pc="http://schemas.microsoft.com/office/powerpoint/2013/main/command">
      <pc:docMk/>
      <pc:sldMk cId="3458967186" sldId="2147472570"/>
    </pc:sldMkLst>
    <p188:txBody>
      <a:bodyPr/>
      <a:lstStyle/>
      <a:p>
        <a:r>
          <a:rPr lang="en-IE"/>
          <a:t>What is the source of this data?</a:t>
        </a:r>
      </a:p>
    </p188:txBody>
  </p188:cm>
  <p188:cm id="{9B6DCB3D-1B58-4476-B49E-021537DB61D4}" authorId="{ED0A588E-6BF1-5E7F-3FC1-686511824868}" created="2022-11-07T14:47:41.813">
    <pc:sldMkLst xmlns:pc="http://schemas.microsoft.com/office/powerpoint/2013/main/command">
      <pc:docMk/>
      <pc:sldMk cId="3458967186" sldId="2147472570"/>
    </pc:sldMkLst>
    <p188:txBody>
      <a:bodyPr/>
      <a:lstStyle/>
      <a:p>
        <a:r>
          <a:rPr lang="en-IE"/>
          <a:t>Why is it in £?</a:t>
        </a:r>
      </a:p>
    </p188:txBody>
  </p188:cm>
</p188:cmLst>
</file>

<file path=ppt/comments/modernComment_7FFFD4BE_AC7088C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BEA2101-ECB7-4DA2-8ED5-581E295B9515}" authorId="{ED0A588E-6BF1-5E7F-3FC1-686511824868}" created="2022-11-07T15:09:12.731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893056200" sldId="2147472574"/>
      <ac:spMk id="18" creationId="{3D9BA03C-E152-42EA-AEEA-F31D4C869493}"/>
    </ac:deMkLst>
    <p188:txBody>
      <a:bodyPr/>
      <a:lstStyle/>
      <a:p>
        <a:r>
          <a:rPr lang="en-IE"/>
          <a:t>Is this the Devenish report?</a:t>
        </a:r>
      </a:p>
    </p188:txBody>
  </p188:cm>
  <p188:cm id="{4E7AA61C-DBD5-4B4F-B0B1-204BEEA7F9F9}" authorId="{714B9ADD-96AF-0BBB-9325-4367DE446A50}" created="2022-11-07T16:01:16.722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893056200" sldId="2147472574"/>
      <ac:picMk id="11" creationId="{D75A9A3F-C7B4-4796-9C5B-41AFF931E048}"/>
    </ac:deMkLst>
    <p188:txBody>
      <a:bodyPr/>
      <a:lstStyle/>
      <a:p>
        <a:r>
          <a:rPr lang="en-IE"/>
          <a:t>Have asked Gary to confirmed number of plants as 80 is listed on other slides</a:t>
        </a:r>
      </a:p>
    </p188:txBody>
  </p188:cm>
</p188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159</cdr:x>
      <cdr:y>0.93465</cdr:y>
    </cdr:from>
    <cdr:to>
      <cdr:x>0.83948</cdr:x>
      <cdr:y>0.99868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7C60C104-AB10-49D9-84D8-25CB09241D7D}"/>
            </a:ext>
          </a:extLst>
        </cdr:cNvPr>
        <cdr:cNvSpPr txBox="1"/>
      </cdr:nvSpPr>
      <cdr:spPr>
        <a:xfrm xmlns:a="http://schemas.openxmlformats.org/drawingml/2006/main">
          <a:off x="7170518" y="4207551"/>
          <a:ext cx="1237754" cy="288247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vertOverflow="clip" vert="horz" wrap="square" lIns="0" tIns="0" rIns="0" bIns="0" rtlCol="0" anchor="t" anchorCtr="0">
          <a:noAutofit/>
        </a:bodyPr>
        <a:lstStyle xmlns:a="http://schemas.openxmlformats.org/drawingml/2006/main"/>
        <a:p xmlns:a="http://schemas.openxmlformats.org/drawingml/2006/main">
          <a:pPr algn="l">
            <a:spcAft>
              <a:spcPts val="600"/>
            </a:spcAft>
          </a:pPr>
          <a:r>
            <a:rPr lang="en-IE" sz="1200" dirty="0">
              <a:solidFill>
                <a:schemeClr val="tx1"/>
              </a:solidFill>
            </a:rPr>
            <a:t>Biomethane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7916</cdr:x>
      <cdr:y>0.88994</cdr:y>
    </cdr:from>
    <cdr:to>
      <cdr:x>0.94548</cdr:x>
      <cdr:y>0.96614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2FDF6A6C-26A8-4D16-B2E4-954BDCE82498}"/>
            </a:ext>
          </a:extLst>
        </cdr:cNvPr>
        <cdr:cNvSpPr/>
      </cdr:nvSpPr>
      <cdr:spPr>
        <a:xfrm xmlns:a="http://schemas.openxmlformats.org/drawingml/2006/main">
          <a:off x="9090524" y="3782474"/>
          <a:ext cx="685800" cy="323850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lIns="54610" tIns="54610" rIns="54610" bIns="54610" rtlCol="0" anchor="ctr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87885</cdr:x>
      <cdr:y>0.91484</cdr:y>
    </cdr:from>
    <cdr:to>
      <cdr:x>0.96176</cdr:x>
      <cdr:y>0.97062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99F7CA0B-F33F-4462-ADF9-3974737F6977}"/>
            </a:ext>
          </a:extLst>
        </cdr:cNvPr>
        <cdr:cNvSpPr txBox="1"/>
      </cdr:nvSpPr>
      <cdr:spPr>
        <a:xfrm xmlns:a="http://schemas.openxmlformats.org/drawingml/2006/main">
          <a:off x="9087349" y="3888297"/>
          <a:ext cx="857250" cy="23707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vert="horz" wrap="square" lIns="0" tIns="0" rIns="0" bIns="0" rtlCol="0" anchor="t" anchorCtr="0">
          <a:noAutofit/>
        </a:bodyPr>
        <a:lstStyle xmlns:a="http://schemas.openxmlformats.org/drawingml/2006/main"/>
        <a:p xmlns:a="http://schemas.openxmlformats.org/drawingml/2006/main">
          <a:pPr algn="l">
            <a:spcAft>
              <a:spcPts val="600"/>
            </a:spcAft>
          </a:pPr>
          <a:r>
            <a:rPr lang="en-IE" sz="900" dirty="0">
              <a:solidFill>
                <a:schemeClr val="tx1"/>
              </a:solidFill>
            </a:rPr>
            <a:t>)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C54D5F6-3183-428A-85C8-51C26DD4B50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608F93-CC89-4063-A187-7B1597877F1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ABA84C-EC3E-4598-9C4D-8CE1D2A956F5}" type="datetimeFigureOut">
              <a:rPr lang="en-GB" smtClean="0">
                <a:latin typeface="Arial" panose="020B0604020202020204" pitchFamily="34" charset="0"/>
              </a:rPr>
              <a:t>15/11/2022</a:t>
            </a:fld>
            <a:endParaRPr lang="en-GB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24D309-D941-4AA7-AD70-D334F1D5923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E99044-B362-4E47-A054-164531AC8F8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C0F9D0-9E03-483D-AC3B-FCB5CBA393CA}" type="slidenum">
              <a:rPr lang="en-GB" smtClean="0">
                <a:latin typeface="Arial" panose="020B0604020202020204" pitchFamily="34" charset="0"/>
              </a:rPr>
              <a:t>‹#›</a:t>
            </a:fld>
            <a:endParaRPr lang="en-GB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43026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3C57A4BF-14E0-48E2-B42F-B29D277000AB}" type="datetimeFigureOut">
              <a:rPr lang="en-GB" smtClean="0"/>
              <a:pPr/>
              <a:t>15/11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9B5D948F-A673-4DC7-A0E9-FA274EAF36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13089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businessplus.ie/industry-type/sustainability/bujo-burger-outlets-flip-to-biomethane/" TargetMode="External"/><Relationship Id="rId3" Type="http://schemas.openxmlformats.org/officeDocument/2006/relationships/hyperlink" Target="https://www.agriland.ie/farming-news/interest-in-biomethane-development-exceeds-production-target/" TargetMode="External"/><Relationship Id="rId7" Type="http://schemas.openxmlformats.org/officeDocument/2006/relationships/hyperlink" Target="https://www.danone.ie/danone-in-ireland/our-supply-points/macroom.html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irishdistillers.ie/irish-distillers-announces-plans-for-midleton-distillery-to-become-carbon-neutral-by-2026-using-break-through-emissions-reducing-technology/" TargetMode="External"/><Relationship Id="rId5" Type="http://schemas.openxmlformats.org/officeDocument/2006/relationships/hyperlink" Target="https://www.cleanenergyministerial.org/content/uploads/2022/03/cem-em-casestudy-tipperary-ireland.pdf" TargetMode="External"/><Relationship Id="rId4" Type="http://schemas.openxmlformats.org/officeDocument/2006/relationships/hyperlink" Target="https://www.renewablegasforum.com/project-clover-calls-for-early-implementation-of-rho/" TargetMode="External"/><Relationship Id="rId9" Type="http://schemas.openxmlformats.org/officeDocument/2006/relationships/hyperlink" Target="https://www.bioenergy-news.com/news/biomass-plant-opens-at-irish-dairy-site/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5D948F-A673-4DC7-A0E9-FA274EAF3634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72551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5D948F-A673-4DC7-A0E9-FA274EAF3634}" type="slidenum">
              <a:rPr lang="en-GB" smtClean="0"/>
              <a:pPr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88618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0866BAD-689B-4D14-A79C-D4E39A5A0417}" type="slidenum">
              <a:rPr lang="en-IE" smtClean="0"/>
              <a:t>27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983835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5D948F-A673-4DC7-A0E9-FA274EAF3634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93548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5D948F-A673-4DC7-A0E9-FA274EAF3634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63057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E"/>
              <a:t>Recent news: 8 </a:t>
            </a:r>
            <a:r>
              <a:rPr lang="en-IE" err="1"/>
              <a:t>TWh</a:t>
            </a:r>
            <a:r>
              <a:rPr lang="en-IE"/>
              <a:t> of appetite for biomethane in 2030 (</a:t>
            </a:r>
            <a:r>
              <a:rPr lang="en-IE">
                <a:hlinkClick r:id="rId3"/>
              </a:rPr>
              <a:t>Interest in biomethane development exceeds production target (agriland.ie)</a:t>
            </a:r>
            <a:r>
              <a:rPr lang="en-IE"/>
              <a:t>) </a:t>
            </a:r>
          </a:p>
          <a:p>
            <a:endParaRPr lang="en-IE"/>
          </a:p>
          <a:p>
            <a:r>
              <a:rPr lang="en-IE"/>
              <a:t>Others:</a:t>
            </a:r>
          </a:p>
          <a:p>
            <a:r>
              <a:rPr lang="en-IE" err="1"/>
              <a:t>UnitedDrug</a:t>
            </a:r>
            <a:r>
              <a:rPr lang="en-IE"/>
              <a:t> – pharma company</a:t>
            </a:r>
          </a:p>
          <a:p>
            <a:r>
              <a:rPr lang="en-IE" err="1"/>
              <a:t>BuJo</a:t>
            </a:r>
            <a:r>
              <a:rPr lang="en-IE"/>
              <a:t> – first restaurant chain to start cooking with biomethane (</a:t>
            </a:r>
            <a:r>
              <a:rPr lang="en-IE" err="1"/>
              <a:t>BuJo</a:t>
            </a:r>
            <a:r>
              <a:rPr lang="en-IE"/>
              <a:t> =burger joint)</a:t>
            </a:r>
          </a:p>
          <a:p>
            <a:endParaRPr lang="en-IE"/>
          </a:p>
          <a:p>
            <a:r>
              <a:rPr lang="en-IE"/>
              <a:t>Interested in biomethane: </a:t>
            </a:r>
          </a:p>
          <a:p>
            <a:endParaRPr lang="en-IE"/>
          </a:p>
          <a:p>
            <a:r>
              <a:rPr lang="en-IE"/>
              <a:t>From project clover: (</a:t>
            </a:r>
            <a:r>
              <a:rPr lang="en-IE">
                <a:hlinkClick r:id="rId4"/>
              </a:rPr>
              <a:t>Renewable Gas Forum Ireland | Project Clover calls for early implementation of RHO</a:t>
            </a:r>
            <a:r>
              <a:rPr lang="en-IE"/>
              <a:t>) </a:t>
            </a:r>
          </a:p>
          <a:p>
            <a:r>
              <a:rPr lang="en-IE"/>
              <a:t>- Tipperary (</a:t>
            </a:r>
            <a:r>
              <a:rPr lang="en-IE">
                <a:hlinkClick r:id="rId5"/>
              </a:rPr>
              <a:t>https://cleanenergyministerial.org/sites/default/files/2020-06/CEM_EM_CASESTUDY_TIPPERARY_IRELAND</a:t>
            </a:r>
            <a:r>
              <a:rPr lang="en-IE"/>
              <a:t>)</a:t>
            </a:r>
          </a:p>
          <a:p>
            <a:pPr marL="171450" indent="-171450">
              <a:buFontTx/>
              <a:buChar char="-"/>
            </a:pPr>
            <a:r>
              <a:rPr lang="en-IE"/>
              <a:t>Lakeland </a:t>
            </a:r>
          </a:p>
          <a:p>
            <a:pPr marL="171450" indent="-171450">
              <a:buFontTx/>
              <a:buChar char="-"/>
            </a:pPr>
            <a:r>
              <a:rPr lang="en-IE" err="1"/>
              <a:t>DairyGold</a:t>
            </a:r>
            <a:endParaRPr lang="en-IE"/>
          </a:p>
          <a:p>
            <a:pPr marL="171450" indent="-171450">
              <a:buFontTx/>
              <a:buChar char="-"/>
            </a:pPr>
            <a:r>
              <a:rPr lang="en-IE"/>
              <a:t>Wyeth</a:t>
            </a:r>
          </a:p>
          <a:p>
            <a:pPr marL="171450" indent="-171450">
              <a:buFontTx/>
              <a:buChar char="-"/>
            </a:pPr>
            <a:r>
              <a:rPr lang="en-IE"/>
              <a:t>Glanbia</a:t>
            </a:r>
          </a:p>
          <a:p>
            <a:pPr marL="171450" indent="-171450">
              <a:buFontTx/>
              <a:buChar char="-"/>
            </a:pPr>
            <a:r>
              <a:rPr lang="en-IE" err="1"/>
              <a:t>Carbery</a:t>
            </a:r>
            <a:endParaRPr lang="en-IE"/>
          </a:p>
          <a:p>
            <a:pPr marL="171450" indent="-171450">
              <a:buFontTx/>
              <a:buChar char="-"/>
            </a:pPr>
            <a:endParaRPr lang="en-IE"/>
          </a:p>
          <a:p>
            <a:r>
              <a:rPr lang="en-IE"/>
              <a:t>- Irish Distillers, led by Jameson (</a:t>
            </a:r>
            <a:r>
              <a:rPr lang="en-IE">
                <a:hlinkClick r:id="rId6"/>
              </a:rPr>
              <a:t>Irish Distillers announces plans for </a:t>
            </a:r>
            <a:r>
              <a:rPr lang="en-IE" err="1">
                <a:hlinkClick r:id="rId6"/>
              </a:rPr>
              <a:t>Midleton</a:t>
            </a:r>
            <a:r>
              <a:rPr lang="en-IE">
                <a:hlinkClick r:id="rId6"/>
              </a:rPr>
              <a:t> Distillery to become carbon neutral by 2026, using break-through emissions reducing technology | Irish Distillers</a:t>
            </a:r>
            <a:r>
              <a:rPr lang="en-IE"/>
              <a:t>) </a:t>
            </a:r>
          </a:p>
          <a:p>
            <a:pPr marL="171450" indent="-171450">
              <a:buFontTx/>
              <a:buChar char="-"/>
            </a:pPr>
            <a:r>
              <a:rPr lang="en-IE"/>
              <a:t>Danone (</a:t>
            </a:r>
            <a:r>
              <a:rPr lang="en-IE" err="1">
                <a:hlinkClick r:id="rId7"/>
              </a:rPr>
              <a:t>Macroom</a:t>
            </a:r>
            <a:r>
              <a:rPr lang="en-IE">
                <a:hlinkClick r:id="rId7"/>
              </a:rPr>
              <a:t> | Danone</a:t>
            </a:r>
            <a:r>
              <a:rPr lang="en-IE"/>
              <a:t>) </a:t>
            </a:r>
          </a:p>
          <a:p>
            <a:pPr marL="171450" indent="-171450">
              <a:buFontTx/>
              <a:buChar char="-"/>
            </a:pPr>
            <a:r>
              <a:rPr lang="en-IE"/>
              <a:t>Flynn’s Irish Tomatoes, switched to biomethane (https://www.gasnetworks.ie/corporate/news/active-news-articles/flynns-tomatoes/) </a:t>
            </a:r>
          </a:p>
          <a:p>
            <a:pPr marL="171450" indent="-171450">
              <a:buFontTx/>
              <a:buChar char="-"/>
            </a:pPr>
            <a:r>
              <a:rPr lang="en-IE" err="1"/>
              <a:t>BuJo</a:t>
            </a:r>
            <a:r>
              <a:rPr lang="en-IE"/>
              <a:t> Burgers (</a:t>
            </a:r>
            <a:r>
              <a:rPr lang="en-IE" err="1">
                <a:hlinkClick r:id="rId8"/>
              </a:rPr>
              <a:t>BuJo</a:t>
            </a:r>
            <a:r>
              <a:rPr lang="en-IE">
                <a:hlinkClick r:id="rId8"/>
              </a:rPr>
              <a:t> burger outlets flip to biomethane - Business Plus</a:t>
            </a:r>
            <a:r>
              <a:rPr lang="en-IE"/>
              <a:t>)</a:t>
            </a:r>
          </a:p>
          <a:p>
            <a:pPr marL="171450" indent="-171450">
              <a:buFontTx/>
              <a:buChar char="-"/>
            </a:pPr>
            <a:r>
              <a:rPr lang="en-IE"/>
              <a:t>Diageo and Tesco Ireland (https://www.bioenergy-news.com/news/naturgy-ireland-injects-biomethane-into-gas-grid/) </a:t>
            </a:r>
          </a:p>
          <a:p>
            <a:pPr marL="171450" indent="-171450">
              <a:buFontTx/>
              <a:buChar char="-"/>
            </a:pPr>
            <a:r>
              <a:rPr lang="en-IE" err="1"/>
              <a:t>Aurivo</a:t>
            </a:r>
            <a:r>
              <a:rPr lang="en-IE"/>
              <a:t> (</a:t>
            </a:r>
            <a:r>
              <a:rPr lang="en-IE">
                <a:hlinkClick r:id="rId9"/>
              </a:rPr>
              <a:t>Biomass plant opens at Irish dairy site | Bioenergy Insight Magazine (bioenergy-news.com)</a:t>
            </a:r>
            <a:r>
              <a:rPr lang="en-IE"/>
              <a:t>) </a:t>
            </a:r>
          </a:p>
          <a:p>
            <a:pPr marL="171450" indent="-171450">
              <a:buFontTx/>
              <a:buChar char="-"/>
            </a:pPr>
            <a:r>
              <a:rPr lang="en-IE" err="1"/>
              <a:t>UnitedDrug</a:t>
            </a:r>
            <a:r>
              <a:rPr lang="en-IE"/>
              <a:t> (https://www.united-drug.com/blogs/news/united-drug-make-the-switch-to-renewable-gas-to-power-a-more-sustainable-future)</a:t>
            </a:r>
          </a:p>
          <a:p>
            <a:pPr marL="171450" indent="-171450">
              <a:buFontTx/>
              <a:buChar char="-"/>
            </a:pPr>
            <a:r>
              <a:rPr lang="en-IE"/>
              <a:t>Aramark </a:t>
            </a:r>
          </a:p>
          <a:p>
            <a:pPr marL="171450" indent="-171450">
              <a:buFontTx/>
              <a:buChar char="-"/>
            </a:pPr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5D948F-A673-4DC7-A0E9-FA274EAF3634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6487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5D948F-A673-4DC7-A0E9-FA274EAF3634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28263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5D948F-A673-4DC7-A0E9-FA274EAF3634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03353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5D948F-A673-4DC7-A0E9-FA274EAF3634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12359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E"/>
              <a:t>Ireland has one of the lowest share of renewable heat in the EU and want to have a sharp increase in this number through the RH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5D948F-A673-4DC7-A0E9-FA274EAF3634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97778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5D948F-A673-4DC7-A0E9-FA274EAF3634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1712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/>
          </p:cNvSpPr>
          <p:nvPr userDrawn="1"/>
        </p:nvSpPr>
        <p:spPr>
          <a:xfrm>
            <a:off x="998476" y="1485244"/>
            <a:ext cx="6277559" cy="4360622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74841" y="1764699"/>
            <a:ext cx="5719338" cy="2880000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KPMG Blue | </a:t>
            </a:r>
            <a:br>
              <a:rPr lang="en-GB"/>
            </a:br>
            <a:r>
              <a:rPr lang="en-GB"/>
              <a:t>Title slide text only</a:t>
            </a:r>
            <a:endParaRPr lang="en-US"/>
          </a:p>
        </p:txBody>
      </p:sp>
      <p:sp>
        <p:nvSpPr>
          <p:cNvPr id="7" name="Freeform 19">
            <a:extLst>
              <a:ext uri="{FF2B5EF4-FFF2-40B4-BE49-F238E27FC236}">
                <a16:creationId xmlns:a16="http://schemas.microsoft.com/office/drawing/2014/main" id="{A5A5FA9B-A901-4A1F-9358-436BDE66E0B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371311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74841" y="4752153"/>
            <a:ext cx="571933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527177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rgbClr val="ACE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924238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 1">
    <p:bg>
      <p:bgPr>
        <a:gradFill>
          <a:gsLst>
            <a:gs pos="0">
              <a:schemeClr val="accent4"/>
            </a:gs>
            <a:gs pos="100000">
              <a:srgbClr val="ACE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E0A6CEE3-DE29-4946-AC1B-1DB3B6C0B06A}"/>
              </a:ext>
            </a:extLst>
          </p:cNvPr>
          <p:cNvSpPr/>
          <p:nvPr userDrawn="1"/>
        </p:nvSpPr>
        <p:spPr>
          <a:xfrm>
            <a:off x="1004889" y="762001"/>
            <a:ext cx="7524000" cy="534924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445" tIns="43445" rIns="43445" bIns="43445" rtlCol="0" anchor="ctr"/>
          <a:lstStyle/>
          <a:p>
            <a:pPr lvl="0"/>
            <a:endParaRPr lang="en-GB" sz="1194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38925" y="2325832"/>
            <a:ext cx="6263956" cy="2300407"/>
          </a:xfrm>
        </p:spPr>
        <p:txBody>
          <a:bodyPr anchor="t" anchorCtr="0"/>
          <a:lstStyle>
            <a:lvl1pPr algn="l">
              <a:defRPr sz="7002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8925" y="5233260"/>
            <a:ext cx="6263956" cy="216000"/>
          </a:xfrm>
        </p:spPr>
        <p:txBody>
          <a:bodyPr/>
          <a:lstStyle>
            <a:lvl1pPr>
              <a:defRPr sz="1273" b="0">
                <a:solidFill>
                  <a:schemeClr val="bg1"/>
                </a:solidFill>
              </a:defRPr>
            </a:lvl1pPr>
            <a:lvl2pPr>
              <a:defRPr sz="875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8924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4296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888175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8499EBB9-9F37-4E4F-A46E-A453E970D66A}"/>
              </a:ext>
            </a:extLst>
          </p:cNvPr>
          <p:cNvSpPr/>
          <p:nvPr userDrawn="1"/>
        </p:nvSpPr>
        <p:spPr>
          <a:xfrm>
            <a:off x="1004889" y="762001"/>
            <a:ext cx="7524000" cy="534924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445" tIns="43445" rIns="43445" bIns="43445" rtlCol="0" anchor="ctr"/>
          <a:lstStyle/>
          <a:p>
            <a:pPr lvl="0"/>
            <a:endParaRPr lang="en-GB" sz="1194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38925" y="2325832"/>
            <a:ext cx="6263956" cy="2300407"/>
          </a:xfrm>
        </p:spPr>
        <p:txBody>
          <a:bodyPr anchor="t" anchorCtr="0"/>
          <a:lstStyle>
            <a:lvl1pPr algn="l">
              <a:defRPr sz="7002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8925" y="5233260"/>
            <a:ext cx="6263956" cy="216000"/>
          </a:xfrm>
        </p:spPr>
        <p:txBody>
          <a:bodyPr/>
          <a:lstStyle>
            <a:lvl1pPr>
              <a:defRPr sz="1273" b="0">
                <a:solidFill>
                  <a:schemeClr val="bg1"/>
                </a:solidFill>
              </a:defRPr>
            </a:lvl1pPr>
            <a:lvl2pPr>
              <a:defRPr sz="875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8924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4296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2" name="Shape 8">
            <a:extLst>
              <a:ext uri="{FF2B5EF4-FFF2-40B4-BE49-F238E27FC236}">
                <a16:creationId xmlns:a16="http://schemas.microsoft.com/office/drawing/2014/main" id="{15EB5FA9-D117-4324-A3D4-5F62C3F1B10A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8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796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796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9" name="Freeform 19">
            <a:extLst>
              <a:ext uri="{FF2B5EF4-FFF2-40B4-BE49-F238E27FC236}">
                <a16:creationId xmlns:a16="http://schemas.microsoft.com/office/drawing/2014/main" id="{D4ED29A6-17C1-4067-93CD-CFE9F68D0C6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2907" y="6264658"/>
            <a:ext cx="582868" cy="19923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</p:spTree>
    <p:extLst>
      <p:ext uri="{BB962C8B-B14F-4D97-AF65-F5344CB8AC3E}">
        <p14:creationId xmlns:p14="http://schemas.microsoft.com/office/powerpoint/2010/main" val="266760901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3202" y="2325832"/>
            <a:ext cx="6263956" cy="2300407"/>
          </a:xfrm>
        </p:spPr>
        <p:txBody>
          <a:bodyPr anchor="t" anchorCtr="0"/>
          <a:lstStyle>
            <a:lvl1pPr algn="l">
              <a:defRPr sz="7002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3202" y="5233260"/>
            <a:ext cx="6263956" cy="216000"/>
          </a:xfrm>
        </p:spPr>
        <p:txBody>
          <a:bodyPr/>
          <a:lstStyle>
            <a:lvl1pPr>
              <a:defRPr sz="1273" b="0">
                <a:solidFill>
                  <a:schemeClr val="bg1"/>
                </a:solidFill>
              </a:defRPr>
            </a:lvl1pPr>
            <a:lvl2pPr>
              <a:defRPr sz="875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201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4296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D0689438-EDC3-428F-AB14-4791E1F80A13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8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796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796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3CCFEB3-A0E6-490B-9CC7-1941D6F614A9}"/>
              </a:ext>
            </a:extLst>
          </p:cNvPr>
          <p:cNvCxnSpPr/>
          <p:nvPr userDrawn="1"/>
        </p:nvCxnSpPr>
        <p:spPr>
          <a:xfrm>
            <a:off x="10928548" y="6266998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eform 19">
            <a:extLst>
              <a:ext uri="{FF2B5EF4-FFF2-40B4-BE49-F238E27FC236}">
                <a16:creationId xmlns:a16="http://schemas.microsoft.com/office/drawing/2014/main" id="{656FA41B-2C90-4C78-8D87-B4C32181708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2907" y="6264658"/>
            <a:ext cx="582868" cy="19923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</p:spTree>
    <p:extLst>
      <p:ext uri="{BB962C8B-B14F-4D97-AF65-F5344CB8AC3E}">
        <p14:creationId xmlns:p14="http://schemas.microsoft.com/office/powerpoint/2010/main" val="327342192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AE64370-786B-4EB9-A918-4498A437E6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788EE33-7A33-4169-88D0-D538A8D5A207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84956">
                <a:schemeClr val="bg1">
                  <a:alpha val="0"/>
                </a:schemeClr>
              </a:gs>
              <a:gs pos="36000">
                <a:schemeClr val="bg1">
                  <a:alpha val="83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445" tIns="43445" rIns="43445" bIns="43445" rtlCol="0" anchor="ctr"/>
          <a:lstStyle/>
          <a:p>
            <a:pPr algn="l"/>
            <a:endParaRPr lang="en-GB" sz="1194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3202" y="2325832"/>
            <a:ext cx="6263956" cy="2300407"/>
          </a:xfrm>
        </p:spPr>
        <p:txBody>
          <a:bodyPr anchor="t" anchorCtr="0"/>
          <a:lstStyle>
            <a:lvl1pPr algn="l">
              <a:defRPr sz="7002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3202" y="5233260"/>
            <a:ext cx="6263956" cy="216000"/>
          </a:xfrm>
        </p:spPr>
        <p:txBody>
          <a:bodyPr/>
          <a:lstStyle>
            <a:lvl1pPr>
              <a:defRPr sz="1273" b="0">
                <a:solidFill>
                  <a:schemeClr val="tx2"/>
                </a:solidFill>
              </a:defRPr>
            </a:lvl1pPr>
            <a:lvl2pPr>
              <a:defRPr sz="875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201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4296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D0689438-EDC3-428F-AB14-4791E1F80A13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8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796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796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4" name="Freeform 19">
            <a:extLst>
              <a:ext uri="{FF2B5EF4-FFF2-40B4-BE49-F238E27FC236}">
                <a16:creationId xmlns:a16="http://schemas.microsoft.com/office/drawing/2014/main" id="{4756D11E-843A-4108-BB05-CE8E849F0C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3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C32650-1A1E-4438-8EB0-88F6AE4DE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8"/>
            <a:ext cx="4623066" cy="146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275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477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3CCFEB3-A0E6-490B-9CC7-1941D6F614A9}"/>
              </a:ext>
            </a:extLst>
          </p:cNvPr>
          <p:cNvCxnSpPr/>
          <p:nvPr userDrawn="1"/>
        </p:nvCxnSpPr>
        <p:spPr>
          <a:xfrm>
            <a:off x="10928548" y="6266998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803273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erson talking on a cell phone&#10;&#10;Description automatically generated with medium confidence">
            <a:extLst>
              <a:ext uri="{FF2B5EF4-FFF2-40B4-BE49-F238E27FC236}">
                <a16:creationId xmlns:a16="http://schemas.microsoft.com/office/drawing/2014/main" id="{2B1EB00E-DCFB-4436-A4B2-99F40E7C13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3202" y="2325832"/>
            <a:ext cx="6263956" cy="2300407"/>
          </a:xfrm>
        </p:spPr>
        <p:txBody>
          <a:bodyPr anchor="t" anchorCtr="0"/>
          <a:lstStyle>
            <a:lvl1pPr algn="l">
              <a:defRPr sz="7002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3202" y="5233260"/>
            <a:ext cx="6263956" cy="216000"/>
          </a:xfrm>
        </p:spPr>
        <p:txBody>
          <a:bodyPr/>
          <a:lstStyle>
            <a:lvl1pPr>
              <a:defRPr sz="1273" b="0">
                <a:solidFill>
                  <a:schemeClr val="tx2"/>
                </a:solidFill>
              </a:defRPr>
            </a:lvl1pPr>
            <a:lvl2pPr>
              <a:defRPr sz="875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201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4296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D0689438-EDC3-428F-AB14-4791E1F80A13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8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796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796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4" name="Freeform 19">
            <a:extLst>
              <a:ext uri="{FF2B5EF4-FFF2-40B4-BE49-F238E27FC236}">
                <a16:creationId xmlns:a16="http://schemas.microsoft.com/office/drawing/2014/main" id="{4756D11E-843A-4108-BB05-CE8E849F0C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3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C32650-1A1E-4438-8EB0-88F6AE4DE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8"/>
            <a:ext cx="4623066" cy="146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275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77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3CCFEB3-A0E6-490B-9CC7-1941D6F614A9}"/>
              </a:ext>
            </a:extLst>
          </p:cNvPr>
          <p:cNvCxnSpPr/>
          <p:nvPr userDrawn="1"/>
        </p:nvCxnSpPr>
        <p:spPr>
          <a:xfrm>
            <a:off x="10928548" y="6266998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417741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60CC9B0-8CF1-42D8-9E4B-C7BC505E3516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-1"/>
            <a:ext cx="12192000" cy="685800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DABDAF5-AB7D-4EFC-9A3E-DFF370982194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63000">
                <a:srgbClr val="E8DCE0">
                  <a:alpha val="0"/>
                </a:srgbClr>
              </a:gs>
              <a:gs pos="7000">
                <a:srgbClr val="E8DCE0">
                  <a:alpha val="7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445" tIns="43445" rIns="43445" bIns="43445" rtlCol="0" anchor="ctr"/>
          <a:lstStyle/>
          <a:p>
            <a:pPr algn="l"/>
            <a:endParaRPr lang="en-GB" sz="1194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3202" y="2325832"/>
            <a:ext cx="6263956" cy="2300407"/>
          </a:xfrm>
        </p:spPr>
        <p:txBody>
          <a:bodyPr anchor="t" anchorCtr="0"/>
          <a:lstStyle>
            <a:lvl1pPr algn="l">
              <a:defRPr sz="7002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3202" y="5233260"/>
            <a:ext cx="6263956" cy="216000"/>
          </a:xfrm>
        </p:spPr>
        <p:txBody>
          <a:bodyPr/>
          <a:lstStyle>
            <a:lvl1pPr>
              <a:defRPr sz="1273" b="0">
                <a:solidFill>
                  <a:schemeClr val="tx2"/>
                </a:solidFill>
              </a:defRPr>
            </a:lvl1pPr>
            <a:lvl2pPr>
              <a:defRPr sz="875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201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4296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D0689438-EDC3-428F-AB14-4791E1F80A13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8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796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796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4" name="Freeform 19">
            <a:extLst>
              <a:ext uri="{FF2B5EF4-FFF2-40B4-BE49-F238E27FC236}">
                <a16:creationId xmlns:a16="http://schemas.microsoft.com/office/drawing/2014/main" id="{4756D11E-843A-4108-BB05-CE8E849F0C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3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C32650-1A1E-4438-8EB0-88F6AE4DE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8"/>
            <a:ext cx="4623066" cy="146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275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477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3CCFEB3-A0E6-490B-9CC7-1941D6F614A9}"/>
              </a:ext>
            </a:extLst>
          </p:cNvPr>
          <p:cNvCxnSpPr/>
          <p:nvPr userDrawn="1"/>
        </p:nvCxnSpPr>
        <p:spPr>
          <a:xfrm>
            <a:off x="10928548" y="6266998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913863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water, sky, outdoor, boat&#10;&#10;Description automatically generated">
            <a:extLst>
              <a:ext uri="{FF2B5EF4-FFF2-40B4-BE49-F238E27FC236}">
                <a16:creationId xmlns:a16="http://schemas.microsoft.com/office/drawing/2014/main" id="{9D3C7FA3-61FC-4875-8279-D3B54C6723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B132EE1-487A-4B69-95D1-CA1029F76CBC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63000">
                <a:srgbClr val="E8DCE0">
                  <a:alpha val="0"/>
                </a:srgbClr>
              </a:gs>
              <a:gs pos="7000">
                <a:srgbClr val="E8DCE0">
                  <a:alpha val="7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445" tIns="43445" rIns="43445" bIns="43445" rtlCol="0" anchor="ctr"/>
          <a:lstStyle/>
          <a:p>
            <a:pPr algn="l"/>
            <a:endParaRPr lang="en-GB" sz="1194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3202" y="2325832"/>
            <a:ext cx="6263956" cy="2300407"/>
          </a:xfrm>
        </p:spPr>
        <p:txBody>
          <a:bodyPr anchor="t" anchorCtr="0"/>
          <a:lstStyle>
            <a:lvl1pPr algn="l">
              <a:defRPr sz="7002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3202" y="5233260"/>
            <a:ext cx="6263956" cy="216000"/>
          </a:xfrm>
        </p:spPr>
        <p:txBody>
          <a:bodyPr/>
          <a:lstStyle>
            <a:lvl1pPr>
              <a:defRPr sz="1273" b="0">
                <a:solidFill>
                  <a:schemeClr val="tx2"/>
                </a:solidFill>
              </a:defRPr>
            </a:lvl1pPr>
            <a:lvl2pPr>
              <a:defRPr sz="875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201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4296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D0689438-EDC3-428F-AB14-4791E1F80A13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8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796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796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4" name="Freeform 19">
            <a:extLst>
              <a:ext uri="{FF2B5EF4-FFF2-40B4-BE49-F238E27FC236}">
                <a16:creationId xmlns:a16="http://schemas.microsoft.com/office/drawing/2014/main" id="{4756D11E-843A-4108-BB05-CE8E849F0C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3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C32650-1A1E-4438-8EB0-88F6AE4DE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8"/>
            <a:ext cx="4623066" cy="146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275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477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3CCFEB3-A0E6-490B-9CC7-1941D6F614A9}"/>
              </a:ext>
            </a:extLst>
          </p:cNvPr>
          <p:cNvCxnSpPr/>
          <p:nvPr userDrawn="1"/>
        </p:nvCxnSpPr>
        <p:spPr>
          <a:xfrm>
            <a:off x="10928548" y="6266998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409114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2E220E8D-EC0F-46D1-9AD3-E5B6C0D7ED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"/>
          <a:stretch/>
        </p:blipFill>
        <p:spPr>
          <a:xfrm>
            <a:off x="-599" y="2"/>
            <a:ext cx="12193200" cy="685799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6619FF4-9BEF-462B-A96D-E7B0927FFE92}"/>
              </a:ext>
            </a:extLst>
          </p:cNvPr>
          <p:cNvSpPr/>
          <p:nvPr userDrawn="1"/>
        </p:nvSpPr>
        <p:spPr>
          <a:xfrm>
            <a:off x="1004889" y="762001"/>
            <a:ext cx="7524000" cy="534924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445" tIns="43445" rIns="43445" bIns="43445" rtlCol="0" anchor="ctr"/>
          <a:lstStyle/>
          <a:p>
            <a:pPr lvl="0"/>
            <a:endParaRPr lang="en-GB" sz="1194">
              <a:solidFill>
                <a:schemeClr val="bg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C0CE533-6F84-4FEB-B1E0-A1C3F00499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38925" y="2325832"/>
            <a:ext cx="6263956" cy="2300407"/>
          </a:xfrm>
        </p:spPr>
        <p:txBody>
          <a:bodyPr anchor="t" anchorCtr="0"/>
          <a:lstStyle>
            <a:lvl1pPr algn="l">
              <a:defRPr sz="7002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5B38886-1C37-4B08-B1E0-DA70618C40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8925" y="5233260"/>
            <a:ext cx="6263956" cy="216000"/>
          </a:xfrm>
        </p:spPr>
        <p:txBody>
          <a:bodyPr/>
          <a:lstStyle>
            <a:lvl1pPr>
              <a:defRPr sz="1273" b="0">
                <a:solidFill>
                  <a:schemeClr val="bg1"/>
                </a:solidFill>
              </a:defRPr>
            </a:lvl1pPr>
            <a:lvl2pPr>
              <a:defRPr sz="875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21A76FD-610B-44D4-98B5-02EF8754CE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8924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4296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16" name="Shape 8">
            <a:extLst>
              <a:ext uri="{FF2B5EF4-FFF2-40B4-BE49-F238E27FC236}">
                <a16:creationId xmlns:a16="http://schemas.microsoft.com/office/drawing/2014/main" id="{5447C2C3-52D6-445B-9981-678811F40754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8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796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796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84B1AC7-79DA-4A59-B3A4-1B2B4DDEF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8"/>
            <a:ext cx="4623066" cy="146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275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477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CB3BBB9-B843-4B92-97C7-CFC475524D94}"/>
              </a:ext>
            </a:extLst>
          </p:cNvPr>
          <p:cNvCxnSpPr/>
          <p:nvPr userDrawn="1"/>
        </p:nvCxnSpPr>
        <p:spPr>
          <a:xfrm>
            <a:off x="10928548" y="6266998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reeform 19">
            <a:extLst>
              <a:ext uri="{FF2B5EF4-FFF2-40B4-BE49-F238E27FC236}">
                <a16:creationId xmlns:a16="http://schemas.microsoft.com/office/drawing/2014/main" id="{EC2CC5FF-8B83-4342-9650-B1E78EDEBB0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2907" y="6264658"/>
            <a:ext cx="582868" cy="19923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</p:spTree>
    <p:extLst>
      <p:ext uri="{BB962C8B-B14F-4D97-AF65-F5344CB8AC3E}">
        <p14:creationId xmlns:p14="http://schemas.microsoft.com/office/powerpoint/2010/main" val="334007593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005CA7AD-3724-4610-AD0B-806098ADE5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0" cy="685629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E8B48BA-0AFA-480A-8CDB-033E2F6E7394}"/>
              </a:ext>
            </a:extLst>
          </p:cNvPr>
          <p:cNvSpPr/>
          <p:nvPr userDrawn="1"/>
        </p:nvSpPr>
        <p:spPr>
          <a:xfrm>
            <a:off x="1004889" y="762001"/>
            <a:ext cx="7524000" cy="534924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445" tIns="43445" rIns="43445" bIns="43445" rtlCol="0" anchor="ctr"/>
          <a:lstStyle/>
          <a:p>
            <a:pPr lvl="0"/>
            <a:endParaRPr lang="en-GB" sz="1194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7D9B65F-9B5C-4627-8CD8-6D02E4A446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38925" y="2325832"/>
            <a:ext cx="6263956" cy="2300407"/>
          </a:xfrm>
        </p:spPr>
        <p:txBody>
          <a:bodyPr anchor="t" anchorCtr="0"/>
          <a:lstStyle>
            <a:lvl1pPr algn="l">
              <a:defRPr sz="7002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A6D3BE5-0736-4CEA-91CA-7EB25ADA18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8925" y="5233260"/>
            <a:ext cx="6263956" cy="216000"/>
          </a:xfrm>
        </p:spPr>
        <p:txBody>
          <a:bodyPr/>
          <a:lstStyle>
            <a:lvl1pPr>
              <a:defRPr sz="1273" b="0">
                <a:solidFill>
                  <a:schemeClr val="bg1"/>
                </a:solidFill>
              </a:defRPr>
            </a:lvl1pPr>
            <a:lvl2pPr>
              <a:defRPr sz="875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EA4ECE6C-BFA7-4671-BBF5-1CCAB0CC5B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8924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4296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17" name="Shape 8">
            <a:extLst>
              <a:ext uri="{FF2B5EF4-FFF2-40B4-BE49-F238E27FC236}">
                <a16:creationId xmlns:a16="http://schemas.microsoft.com/office/drawing/2014/main" id="{B9ABE5F9-3CED-4915-AA9A-621AE8E3A5B6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8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796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796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7D8BBE7B-7414-4949-B4F9-10E37BB296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3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D706044-792D-4F27-BA42-9C4B709AEB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8"/>
            <a:ext cx="4623066" cy="146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275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477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1A33ACA-677B-43FD-9B5F-7CF7C75120B9}"/>
              </a:ext>
            </a:extLst>
          </p:cNvPr>
          <p:cNvCxnSpPr/>
          <p:nvPr userDrawn="1"/>
        </p:nvCxnSpPr>
        <p:spPr>
          <a:xfrm>
            <a:off x="10928548" y="6266998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824587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A67C365C-B5DD-4C23-A880-ABB124CC8F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E8B48BA-0AFA-480A-8CDB-033E2F6E7394}"/>
              </a:ext>
            </a:extLst>
          </p:cNvPr>
          <p:cNvSpPr/>
          <p:nvPr userDrawn="1"/>
        </p:nvSpPr>
        <p:spPr>
          <a:xfrm>
            <a:off x="1004889" y="762001"/>
            <a:ext cx="7524000" cy="534924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445" tIns="43445" rIns="43445" bIns="43445" rtlCol="0" anchor="ctr"/>
          <a:lstStyle/>
          <a:p>
            <a:pPr lvl="0"/>
            <a:endParaRPr lang="en-GB" sz="1194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7D9B65F-9B5C-4627-8CD8-6D02E4A446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38925" y="2325832"/>
            <a:ext cx="6263956" cy="2300407"/>
          </a:xfrm>
        </p:spPr>
        <p:txBody>
          <a:bodyPr anchor="t" anchorCtr="0"/>
          <a:lstStyle>
            <a:lvl1pPr algn="l">
              <a:defRPr sz="7002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A6D3BE5-0736-4CEA-91CA-7EB25ADA18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8925" y="5233260"/>
            <a:ext cx="6263956" cy="216000"/>
          </a:xfrm>
        </p:spPr>
        <p:txBody>
          <a:bodyPr/>
          <a:lstStyle>
            <a:lvl1pPr>
              <a:defRPr sz="1273" b="0">
                <a:solidFill>
                  <a:schemeClr val="bg1"/>
                </a:solidFill>
              </a:defRPr>
            </a:lvl1pPr>
            <a:lvl2pPr>
              <a:defRPr sz="875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EA4ECE6C-BFA7-4671-BBF5-1CCAB0CC5B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8924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4296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17" name="Shape 8">
            <a:extLst>
              <a:ext uri="{FF2B5EF4-FFF2-40B4-BE49-F238E27FC236}">
                <a16:creationId xmlns:a16="http://schemas.microsoft.com/office/drawing/2014/main" id="{B9ABE5F9-3CED-4915-AA9A-621AE8E3A5B6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8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796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796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D706044-792D-4F27-BA42-9C4B709AEB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8"/>
            <a:ext cx="4623066" cy="146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275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477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1A33ACA-677B-43FD-9B5F-7CF7C75120B9}"/>
              </a:ext>
            </a:extLst>
          </p:cNvPr>
          <p:cNvCxnSpPr/>
          <p:nvPr userDrawn="1"/>
        </p:nvCxnSpPr>
        <p:spPr>
          <a:xfrm>
            <a:off x="10928548" y="6266998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reeform 19">
            <a:extLst>
              <a:ext uri="{FF2B5EF4-FFF2-40B4-BE49-F238E27FC236}">
                <a16:creationId xmlns:a16="http://schemas.microsoft.com/office/drawing/2014/main" id="{599A3E01-A040-40CD-A92A-093BC82B8D7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2907" y="6264658"/>
            <a:ext cx="582868" cy="19923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</p:spTree>
    <p:extLst>
      <p:ext uri="{BB962C8B-B14F-4D97-AF65-F5344CB8AC3E}">
        <p14:creationId xmlns:p14="http://schemas.microsoft.com/office/powerpoint/2010/main" val="15747402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989CBA86-3836-4832-B1AE-9FEA1A8FB1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705723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4E949F2-DC86-49D8-B7F6-F5E464D2BA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0" cy="685800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E8B48BA-0AFA-480A-8CDB-033E2F6E7394}"/>
              </a:ext>
            </a:extLst>
          </p:cNvPr>
          <p:cNvSpPr/>
          <p:nvPr userDrawn="1"/>
        </p:nvSpPr>
        <p:spPr>
          <a:xfrm>
            <a:off x="1004889" y="762001"/>
            <a:ext cx="7524000" cy="534924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445" tIns="43445" rIns="43445" bIns="43445" rtlCol="0" anchor="ctr"/>
          <a:lstStyle/>
          <a:p>
            <a:pPr lvl="0"/>
            <a:endParaRPr lang="en-GB" sz="1194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7D9B65F-9B5C-4627-8CD8-6D02E4A446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38925" y="2325832"/>
            <a:ext cx="6263956" cy="2300407"/>
          </a:xfrm>
        </p:spPr>
        <p:txBody>
          <a:bodyPr anchor="t" anchorCtr="0"/>
          <a:lstStyle>
            <a:lvl1pPr algn="l">
              <a:defRPr sz="7002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A6D3BE5-0736-4CEA-91CA-7EB25ADA18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8925" y="5233260"/>
            <a:ext cx="6263956" cy="216000"/>
          </a:xfrm>
        </p:spPr>
        <p:txBody>
          <a:bodyPr/>
          <a:lstStyle>
            <a:lvl1pPr>
              <a:defRPr sz="1273" b="0">
                <a:solidFill>
                  <a:schemeClr val="bg1"/>
                </a:solidFill>
              </a:defRPr>
            </a:lvl1pPr>
            <a:lvl2pPr>
              <a:defRPr sz="875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EA4ECE6C-BFA7-4671-BBF5-1CCAB0CC5B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8924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4296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17" name="Shape 8">
            <a:extLst>
              <a:ext uri="{FF2B5EF4-FFF2-40B4-BE49-F238E27FC236}">
                <a16:creationId xmlns:a16="http://schemas.microsoft.com/office/drawing/2014/main" id="{B9ABE5F9-3CED-4915-AA9A-621AE8E3A5B6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8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796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796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7D8BBE7B-7414-4949-B4F9-10E37BB296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3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D706044-792D-4F27-BA42-9C4B709AEB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8"/>
            <a:ext cx="4623066" cy="146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275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477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1A33ACA-677B-43FD-9B5F-7CF7C75120B9}"/>
              </a:ext>
            </a:extLst>
          </p:cNvPr>
          <p:cNvCxnSpPr/>
          <p:nvPr userDrawn="1"/>
        </p:nvCxnSpPr>
        <p:spPr>
          <a:xfrm>
            <a:off x="10928548" y="6266998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991496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568FCEB1-3EF3-4E82-987D-4D27092A20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E8B48BA-0AFA-480A-8CDB-033E2F6E7394}"/>
              </a:ext>
            </a:extLst>
          </p:cNvPr>
          <p:cNvSpPr/>
          <p:nvPr userDrawn="1"/>
        </p:nvSpPr>
        <p:spPr>
          <a:xfrm>
            <a:off x="1004889" y="762001"/>
            <a:ext cx="7524000" cy="534924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445" tIns="43445" rIns="43445" bIns="43445" rtlCol="0" anchor="ctr"/>
          <a:lstStyle/>
          <a:p>
            <a:pPr lvl="0"/>
            <a:endParaRPr lang="en-GB" sz="1194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7D9B65F-9B5C-4627-8CD8-6D02E4A446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38925" y="2325832"/>
            <a:ext cx="6263956" cy="2300407"/>
          </a:xfrm>
        </p:spPr>
        <p:txBody>
          <a:bodyPr anchor="t" anchorCtr="0"/>
          <a:lstStyle>
            <a:lvl1pPr algn="l">
              <a:defRPr sz="7002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A6D3BE5-0736-4CEA-91CA-7EB25ADA18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8925" y="5233260"/>
            <a:ext cx="6263956" cy="216000"/>
          </a:xfrm>
        </p:spPr>
        <p:txBody>
          <a:bodyPr/>
          <a:lstStyle>
            <a:lvl1pPr>
              <a:defRPr sz="1273" b="0">
                <a:solidFill>
                  <a:schemeClr val="bg1"/>
                </a:solidFill>
              </a:defRPr>
            </a:lvl1pPr>
            <a:lvl2pPr>
              <a:defRPr sz="875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EA4ECE6C-BFA7-4671-BBF5-1CCAB0CC5B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8924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4296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17" name="Shape 8">
            <a:extLst>
              <a:ext uri="{FF2B5EF4-FFF2-40B4-BE49-F238E27FC236}">
                <a16:creationId xmlns:a16="http://schemas.microsoft.com/office/drawing/2014/main" id="{B9ABE5F9-3CED-4915-AA9A-621AE8E3A5B6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8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796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796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D706044-792D-4F27-BA42-9C4B709AEB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8"/>
            <a:ext cx="4623066" cy="146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275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477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1A33ACA-677B-43FD-9B5F-7CF7C75120B9}"/>
              </a:ext>
            </a:extLst>
          </p:cNvPr>
          <p:cNvCxnSpPr/>
          <p:nvPr userDrawn="1"/>
        </p:nvCxnSpPr>
        <p:spPr>
          <a:xfrm>
            <a:off x="10928548" y="6266998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reeform 19">
            <a:extLst>
              <a:ext uri="{FF2B5EF4-FFF2-40B4-BE49-F238E27FC236}">
                <a16:creationId xmlns:a16="http://schemas.microsoft.com/office/drawing/2014/main" id="{4B27061B-E4D7-42E6-AF71-6547777CC54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2907" y="6264658"/>
            <a:ext cx="582868" cy="19923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</p:spTree>
    <p:extLst>
      <p:ext uri="{BB962C8B-B14F-4D97-AF65-F5344CB8AC3E}">
        <p14:creationId xmlns:p14="http://schemas.microsoft.com/office/powerpoint/2010/main" val="210404020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070744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8" y="203863"/>
            <a:ext cx="10574091" cy="169200"/>
          </a:xfrm>
        </p:spPr>
        <p:txBody>
          <a:bodyPr anchor="b"/>
          <a:lstStyle>
            <a:lvl1pPr>
              <a:spcAft>
                <a:spcPts val="0"/>
              </a:spcAft>
              <a:defRPr sz="954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2768495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101952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43585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_doub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10201275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239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_double titl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10201275" cy="4176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 marL="361950" indent="-180975"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F4561A05-7671-4539-AB97-A9979F67EB4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Freeform 19">
            <a:extLst>
              <a:ext uri="{FF2B5EF4-FFF2-40B4-BE49-F238E27FC236}">
                <a16:creationId xmlns:a16="http://schemas.microsoft.com/office/drawing/2014/main" id="{96D02435-216E-4CEB-A47D-16F13A8C60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BF1CF3-C473-4B59-9814-FFEC4D26E8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9D5ED2D-F17F-4481-8AE6-4D9EA0535145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8224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95200" cy="53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989CBA86-3836-4832-B1AE-9FEA1A8FB1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102012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93720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09967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95200" cy="53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989CBA86-3836-4832-B1AE-9FEA1A8FB1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4968000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ED3211B-3C86-4413-BA20-A4F81B443B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8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35841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88539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10195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1003200" y="3742126"/>
            <a:ext cx="10195200" cy="213574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8661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331BAC5B-20A9-435F-8C24-21445B9F4ED5}"/>
              </a:ext>
            </a:extLst>
          </p:cNvPr>
          <p:cNvSpPr>
            <a:spLocks/>
          </p:cNvSpPr>
          <p:nvPr userDrawn="1"/>
        </p:nvSpPr>
        <p:spPr>
          <a:xfrm>
            <a:off x="998476" y="1485244"/>
            <a:ext cx="3030598" cy="4360622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74841" y="1764699"/>
            <a:ext cx="2469675" cy="2880000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7" name="Freeform 19">
            <a:extLst>
              <a:ext uri="{FF2B5EF4-FFF2-40B4-BE49-F238E27FC236}">
                <a16:creationId xmlns:a16="http://schemas.microsoft.com/office/drawing/2014/main" id="{A5A5FA9B-A901-4A1F-9358-436BDE66E0B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371311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1274841" y="4752153"/>
            <a:ext cx="2469675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810457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08272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507546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11892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07546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11892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13369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003200" y="3500437"/>
            <a:ext cx="2448000" cy="646331"/>
          </a:xfrm>
        </p:spPr>
        <p:txBody>
          <a:bodyPr>
            <a:spAutoFit/>
          </a:bodyPr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>
              <a:defRPr sz="1300"/>
            </a:lvl2pPr>
          </a:lstStyle>
          <a:p>
            <a:pPr lvl="0"/>
            <a:r>
              <a:rPr lang="en-US"/>
              <a:t>Partner Name</a:t>
            </a:r>
          </a:p>
          <a:p>
            <a:pPr lvl="1"/>
            <a:r>
              <a:rPr lang="en-US"/>
              <a:t>Sector Nam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2433" y="3500437"/>
            <a:ext cx="2448000" cy="646331"/>
          </a:xfrm>
        </p:spPr>
        <p:txBody>
          <a:bodyPr>
            <a:spAutoFit/>
          </a:bodyPr>
          <a:lstStyle>
            <a:lvl1pPr>
              <a:defRPr sz="2400">
                <a:latin typeface="+mj-lt"/>
              </a:defRPr>
            </a:lvl1pPr>
            <a:lvl2pPr>
              <a:defRPr sz="1300"/>
            </a:lvl2pPr>
          </a:lstStyle>
          <a:p>
            <a:pPr lvl="0"/>
            <a:r>
              <a:rPr lang="en-US"/>
              <a:t>Partner Name</a:t>
            </a:r>
          </a:p>
          <a:p>
            <a:pPr lvl="1"/>
            <a:r>
              <a:rPr lang="en-US"/>
              <a:t>Sector Nam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161566" y="3500437"/>
            <a:ext cx="2448000" cy="646331"/>
          </a:xfrm>
        </p:spPr>
        <p:txBody>
          <a:bodyPr>
            <a:spAutoFit/>
          </a:bodyPr>
          <a:lstStyle>
            <a:lvl1pPr>
              <a:defRPr sz="2400">
                <a:solidFill>
                  <a:schemeClr val="accent4"/>
                </a:solidFill>
                <a:latin typeface="+mj-lt"/>
              </a:defRPr>
            </a:lvl1pPr>
            <a:lvl2pPr>
              <a:defRPr sz="1300"/>
            </a:lvl2pPr>
          </a:lstStyle>
          <a:p>
            <a:pPr lvl="0"/>
            <a:r>
              <a:rPr lang="en-US"/>
              <a:t>Partner Name</a:t>
            </a:r>
          </a:p>
          <a:p>
            <a:pPr lvl="1"/>
            <a:r>
              <a:rPr lang="en-US"/>
              <a:t>Sector Nam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6D499DA-AB3A-42FA-AEC3-59074A9B143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03300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30087E5F-B6BA-4B21-AEE1-13ECBDE2B7A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582433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787444CB-F6F1-40E7-BD1A-43812BC02B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61566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BF16C7DF-AAFB-48BF-9719-BEDB49FA0EA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740700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BE82B65-4225-4835-9D11-414E80A480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40700" y="3500437"/>
            <a:ext cx="2448000" cy="646331"/>
          </a:xfrm>
        </p:spPr>
        <p:txBody>
          <a:bodyPr>
            <a:spAutoFit/>
          </a:bodyPr>
          <a:lstStyle>
            <a:lvl1pPr>
              <a:defRPr sz="2400">
                <a:solidFill>
                  <a:schemeClr val="accent5"/>
                </a:solidFill>
                <a:latin typeface="+mj-lt"/>
              </a:defRPr>
            </a:lvl1pPr>
            <a:lvl2pPr>
              <a:defRPr sz="1300"/>
            </a:lvl2pPr>
          </a:lstStyle>
          <a:p>
            <a:pPr lvl="0"/>
            <a:r>
              <a:rPr lang="en-US"/>
              <a:t>Partner Name</a:t>
            </a:r>
          </a:p>
          <a:p>
            <a:pPr lvl="1"/>
            <a:r>
              <a:rPr lang="en-US"/>
              <a:t>Sector Nam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E24AF4F7-6286-4F12-8CC6-9D3D2C2EA2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57953" y="1330324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600" b="0" kern="1200" spc="2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01</a:t>
            </a:r>
            <a:endParaRPr lang="en-GB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A1AAB6E-94B2-4E91-9CEB-50E84434F0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95363" y="4343400"/>
            <a:ext cx="2448000" cy="1533525"/>
          </a:xfrm>
        </p:spPr>
        <p:txBody>
          <a:bodyPr/>
          <a:lstStyle>
            <a:lvl2pPr>
              <a:defRPr sz="1300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41DA198-669A-415B-9D0E-89D5BDCB8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2433" y="4343400"/>
            <a:ext cx="2448000" cy="1533525"/>
          </a:xfrm>
        </p:spPr>
        <p:txBody>
          <a:bodyPr/>
          <a:lstStyle>
            <a:lvl2pPr>
              <a:defRPr sz="1300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DC5114C-C3D2-49E7-A38D-466F95B5A2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61566" y="4343400"/>
            <a:ext cx="2448000" cy="1533525"/>
          </a:xfrm>
        </p:spPr>
        <p:txBody>
          <a:bodyPr/>
          <a:lstStyle>
            <a:lvl2pPr>
              <a:defRPr sz="1300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A468C94C-268F-4547-8993-7B47FB365E8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0700" y="4343400"/>
            <a:ext cx="2448000" cy="1533525"/>
          </a:xfrm>
        </p:spPr>
        <p:txBody>
          <a:bodyPr/>
          <a:lstStyle>
            <a:lvl2pPr>
              <a:defRPr sz="1300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CA373DA8-5766-4E27-AB6B-2D49F7E7841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37085" y="1330324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600" b="0" kern="1200" spc="2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02</a:t>
            </a:r>
            <a:endParaRPr lang="en-GB"/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72EC7370-28C3-4DEF-9936-6044EC44FD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16218" y="1330324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600" b="0" kern="1200" spc="2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03</a:t>
            </a:r>
            <a:endParaRPr lang="en-GB"/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CA9841A3-E975-4AA0-932D-99A38F36198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595352" y="1330324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600" b="0" kern="1200" spc="2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Tx/>
              <a:buNone/>
            </a:pPr>
            <a:r>
              <a:rPr lang="en-US"/>
              <a:t>0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01816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75981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A68D3E60-F95F-4250-92C1-89CF93433E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D8E592C-F128-4E4B-970B-BFB5C0F2A4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EE6B17CD-E0EF-40A4-A171-4E4B731CE0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03C9A44B-2A8F-416D-A76B-F3A018572E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D3A5B3AC-C2E0-40CF-9D31-036461F790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969E3860-942E-40E2-A1C8-AF5DF29675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8E580107-2025-4C04-9884-4A6DBB63DE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C4D5128-392D-4FC9-A83F-FA43203A4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A8EB5529-8601-4864-9983-FBB672B8B9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4715BC67-F699-49E6-B5D7-22ED9DFA81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32584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6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3580C36-1E70-46DD-9783-AFD66B7DEC90}"/>
              </a:ext>
            </a:extLst>
          </p:cNvPr>
          <p:cNvSpPr/>
          <p:nvPr userDrawn="1"/>
        </p:nvSpPr>
        <p:spPr>
          <a:xfrm>
            <a:off x="0" y="0"/>
            <a:ext cx="12192000" cy="26860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720597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437994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155391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590187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469478F-D315-4922-A7E4-E575455BF3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872788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8557E01-A30E-46EA-BAB3-4F33E0992F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95363" y="1330325"/>
            <a:ext cx="10185400" cy="538609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499126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38659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A5FBEF-FE77-4CC8-B2D5-D94327DAF6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59D9BAA-2BF4-4A94-BAA4-5D091A2962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3D170C1-7106-44D2-A62F-A804F244A0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5DDAC4CF-AC2F-4D83-9FB0-DDFB71EE9A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C84B130-9B9F-460C-87A1-4E3012ECE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C076374-F8FA-413A-9C7F-81C8235123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92DC24D7-E120-435A-8A2A-98E939AC4C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1F15369-328E-43E6-894F-1F86414EB3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33415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19862B5-E58D-4F98-8070-F04E6659AC38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003346" y="1330325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4967685 w 4967685"/>
              <a:gd name="connsiteY1" fmla="*/ 0 h 2132614"/>
              <a:gd name="connsiteX2" fmla="*/ 4967685 w 4967685"/>
              <a:gd name="connsiteY2" fmla="*/ 1013538 h 2132614"/>
              <a:gd name="connsiteX3" fmla="*/ 3364916 w 4967685"/>
              <a:gd name="connsiteY3" fmla="*/ 1013538 h 2132614"/>
              <a:gd name="connsiteX4" fmla="*/ 3364916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4967685" y="0"/>
                </a:lnTo>
                <a:lnTo>
                  <a:pt x="4967685" y="1013538"/>
                </a:lnTo>
                <a:lnTo>
                  <a:pt x="3364916" y="1013538"/>
                </a:lnTo>
                <a:lnTo>
                  <a:pt x="3364916" y="2132614"/>
                </a:lnTo>
                <a:lnTo>
                  <a:pt x="0" y="2132614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EEBDCDC-F212-4ED4-8D32-7B1BC919EF2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220971" y="1330325"/>
            <a:ext cx="4970724" cy="2132614"/>
          </a:xfrm>
          <a:custGeom>
            <a:avLst/>
            <a:gdLst>
              <a:gd name="connsiteX0" fmla="*/ 0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1602767 w 4970724"/>
              <a:gd name="connsiteY3" fmla="*/ 2132614 h 2132614"/>
              <a:gd name="connsiteX4" fmla="*/ 1602767 w 4970724"/>
              <a:gd name="connsiteY4" fmla="*/ 1013538 h 2132614"/>
              <a:gd name="connsiteX5" fmla="*/ 0 w 4970724"/>
              <a:gd name="connsiteY5" fmla="*/ 1013538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0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1602767" y="2132614"/>
                </a:lnTo>
                <a:lnTo>
                  <a:pt x="1602767" y="1013538"/>
                </a:lnTo>
                <a:lnTo>
                  <a:pt x="0" y="1013538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E0E984E-3A85-42BD-A2C6-26D3EB300D8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003346" y="3747502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3364916 w 4967685"/>
              <a:gd name="connsiteY1" fmla="*/ 0 h 2132614"/>
              <a:gd name="connsiteX2" fmla="*/ 3364916 w 4967685"/>
              <a:gd name="connsiteY2" fmla="*/ 1119077 h 2132614"/>
              <a:gd name="connsiteX3" fmla="*/ 4967685 w 4967685"/>
              <a:gd name="connsiteY3" fmla="*/ 1119077 h 2132614"/>
              <a:gd name="connsiteX4" fmla="*/ 4967685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3364916" y="0"/>
                </a:lnTo>
                <a:lnTo>
                  <a:pt x="3364916" y="1119077"/>
                </a:lnTo>
                <a:lnTo>
                  <a:pt x="4967685" y="1119077"/>
                </a:lnTo>
                <a:lnTo>
                  <a:pt x="4967685" y="2132614"/>
                </a:lnTo>
                <a:lnTo>
                  <a:pt x="0" y="2132614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DB6DB5B-6EBB-4E77-8ECE-2DE4424BD66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220971" y="3747502"/>
            <a:ext cx="4970724" cy="2132614"/>
          </a:xfrm>
          <a:custGeom>
            <a:avLst/>
            <a:gdLst>
              <a:gd name="connsiteX0" fmla="*/ 1602767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0 w 4970724"/>
              <a:gd name="connsiteY3" fmla="*/ 2132614 h 2132614"/>
              <a:gd name="connsiteX4" fmla="*/ 0 w 4970724"/>
              <a:gd name="connsiteY4" fmla="*/ 1119077 h 2132614"/>
              <a:gd name="connsiteX5" fmla="*/ 1602767 w 4970724"/>
              <a:gd name="connsiteY5" fmla="*/ 1119077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1602767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0" y="2132614"/>
                </a:lnTo>
                <a:lnTo>
                  <a:pt x="0" y="1119077"/>
                </a:lnTo>
                <a:lnTo>
                  <a:pt x="1602767" y="1119077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500">
                <a:latin typeface="+mn-lt"/>
              </a:defRPr>
            </a:lvl1pPr>
            <a:lvl2pPr>
              <a:defRPr sz="1500">
                <a:latin typeface="+mn-lt"/>
              </a:defRPr>
            </a:lvl2pPr>
            <a:lvl3pPr>
              <a:defRPr sz="1500">
                <a:latin typeface="+mn-lt"/>
              </a:defRPr>
            </a:lvl3pPr>
            <a:lvl4pPr>
              <a:defRPr sz="1500">
                <a:latin typeface="+mn-lt"/>
              </a:defRPr>
            </a:lvl4pPr>
            <a:lvl5pPr>
              <a:defRPr sz="15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4571176" y="2546022"/>
            <a:ext cx="3049649" cy="211839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108000" rIns="108000" bIns="108000" anchor="ctr" anchorCtr="1">
            <a:noAutofit/>
          </a:bodyPr>
          <a:lstStyle>
            <a:lvl1pPr algn="ctr"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58581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3"/>
            <a:ext cx="4968000" cy="4156211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20800" y="1720713"/>
            <a:ext cx="4968000" cy="4156211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208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535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/>
          </p:cNvSpPr>
          <p:nvPr userDrawn="1"/>
        </p:nvSpPr>
        <p:spPr>
          <a:xfrm>
            <a:off x="3405716" y="383795"/>
            <a:ext cx="7794097" cy="541406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Freeform 19">
            <a:extLst>
              <a:ext uri="{FF2B5EF4-FFF2-40B4-BE49-F238E27FC236}">
                <a16:creationId xmlns:a16="http://schemas.microsoft.com/office/drawing/2014/main" id="{A5A5FA9B-A901-4A1F-9358-436BDE66E0B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371311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C1A25C-9C23-47D0-BC86-BD2474043CD3}"/>
              </a:ext>
            </a:extLst>
          </p:cNvPr>
          <p:cNvGrpSpPr/>
          <p:nvPr userDrawn="1"/>
        </p:nvGrpSpPr>
        <p:grpSpPr>
          <a:xfrm>
            <a:off x="998476" y="0"/>
            <a:ext cx="911399" cy="1485244"/>
            <a:chOff x="1008000" y="0"/>
            <a:chExt cx="911399" cy="1485244"/>
          </a:xfrm>
          <a:solidFill>
            <a:schemeClr val="bg1">
              <a:alpha val="0"/>
            </a:schemeClr>
          </a:solidFill>
        </p:grpSpPr>
        <p:sp>
          <p:nvSpPr>
            <p:cNvPr id="5" name="Freeform 19">
              <a:extLst>
                <a:ext uri="{FF2B5EF4-FFF2-40B4-BE49-F238E27FC236}">
                  <a16:creationId xmlns:a16="http://schemas.microsoft.com/office/drawing/2014/main" id="{EEC5B735-00AD-41B9-A513-0F7783FFBE36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0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9">
              <a:extLst>
                <a:ext uri="{FF2B5EF4-FFF2-40B4-BE49-F238E27FC236}">
                  <a16:creationId xmlns:a16="http://schemas.microsoft.com/office/drawing/2014/main" id="{C5CCCCF1-8E34-4341-A6C5-97CC39680E55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742622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9">
              <a:extLst>
                <a:ext uri="{FF2B5EF4-FFF2-40B4-BE49-F238E27FC236}">
                  <a16:creationId xmlns:a16="http://schemas.microsoft.com/office/drawing/2014/main" id="{162D722E-1D64-4D54-98B6-8466501BFD3D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1113933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672180" y="4722968"/>
            <a:ext cx="7260639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BA9E5DDB-2262-4657-AA4F-9CE87AA83B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1123" y="649292"/>
            <a:ext cx="7260639" cy="3950972"/>
          </a:xfrm>
        </p:spPr>
        <p:txBody>
          <a:bodyPr/>
          <a:lstStyle>
            <a:lvl1pPr>
              <a:defRPr lang="en-GB" sz="66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96475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20800" y="1720714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208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6220800" y="4130720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622080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56956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Quad Boxes BG Dark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0" y="432000"/>
            <a:ext cx="10185600" cy="51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hape 8">
            <a:extLst>
              <a:ext uri="{FF2B5EF4-FFF2-40B4-BE49-F238E27FC236}">
                <a16:creationId xmlns:a16="http://schemas.microsoft.com/office/drawing/2014/main" id="{1763B05F-830B-4267-AD78-15D92D15E48D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6" name="Freeform 19">
            <a:extLst>
              <a:ext uri="{FF2B5EF4-FFF2-40B4-BE49-F238E27FC236}">
                <a16:creationId xmlns:a16="http://schemas.microsoft.com/office/drawing/2014/main" id="{1B12696F-A472-4363-9634-056AC4D96D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4359EB3-99CA-467E-9F82-D5B531A28A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4C51904-D930-45AA-AF92-A006847C8BF5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8">
            <a:extLst>
              <a:ext uri="{FF2B5EF4-FFF2-40B4-BE49-F238E27FC236}">
                <a16:creationId xmlns:a16="http://schemas.microsoft.com/office/drawing/2014/main" id="{2086F202-0162-4310-A956-FCCC947433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0" name="Text Placeholder 8">
            <a:extLst>
              <a:ext uri="{FF2B5EF4-FFF2-40B4-BE49-F238E27FC236}">
                <a16:creationId xmlns:a16="http://schemas.microsoft.com/office/drawing/2014/main" id="{E8B6691E-17EA-480D-B598-F314E1A68E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8">
            <a:extLst>
              <a:ext uri="{FF2B5EF4-FFF2-40B4-BE49-F238E27FC236}">
                <a16:creationId xmlns:a16="http://schemas.microsoft.com/office/drawing/2014/main" id="{59F2358C-C167-462D-9F76-6D66B9B409B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20800" y="1720714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B2FCC9C9-35DE-4F3C-A352-30EE65DD5B8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20800" y="1331913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Text Placeholder 8">
            <a:extLst>
              <a:ext uri="{FF2B5EF4-FFF2-40B4-BE49-F238E27FC236}">
                <a16:creationId xmlns:a16="http://schemas.microsoft.com/office/drawing/2014/main" id="{EA017BC0-9170-4186-94F7-40E80F981A0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0383342E-84C2-404C-8D37-45747A19160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5" name="Text Placeholder 8">
            <a:extLst>
              <a:ext uri="{FF2B5EF4-FFF2-40B4-BE49-F238E27FC236}">
                <a16:creationId xmlns:a16="http://schemas.microsoft.com/office/drawing/2014/main" id="{BE27B3E2-E887-473C-8464-38B061F67EA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20800" y="4130720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4C0C9B8C-19B0-44D7-9F0F-975D45D4007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20800" y="3741920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5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36405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/>
          </p:cNvSpPr>
          <p:nvPr userDrawn="1"/>
        </p:nvSpPr>
        <p:spPr>
          <a:xfrm>
            <a:off x="998476" y="971550"/>
            <a:ext cx="7091424" cy="4925962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3869611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gradFill flip="none" rotWithShape="1">
          <a:gsLst>
            <a:gs pos="0">
              <a:schemeClr val="accent5"/>
            </a:gs>
            <a:gs pos="100000">
              <a:schemeClr val="accent1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BAF31653-DA95-4567-9106-71E1E49BA627}"/>
              </a:ext>
            </a:extLst>
          </p:cNvPr>
          <p:cNvSpPr>
            <a:spLocks/>
          </p:cNvSpPr>
          <p:nvPr userDrawn="1"/>
        </p:nvSpPr>
        <p:spPr>
          <a:xfrm>
            <a:off x="998476" y="971550"/>
            <a:ext cx="7091424" cy="4925962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2925CE2F-8945-49DE-BCC2-8BCACF480E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accent2"/>
                </a:solidFill>
              </a:defRPr>
            </a:lvl1pPr>
            <a:lvl2pPr>
              <a:defRPr sz="14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C346F2F1-AF73-4284-8702-745152AF53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6639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A87A788-0BF5-4419-BCFC-809F6D2E93AA}"/>
              </a:ext>
            </a:extLst>
          </p:cNvPr>
          <p:cNvSpPr>
            <a:spLocks/>
          </p:cNvSpPr>
          <p:nvPr userDrawn="1"/>
        </p:nvSpPr>
        <p:spPr>
          <a:xfrm>
            <a:off x="998476" y="971550"/>
            <a:ext cx="7091424" cy="4925962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ACEAFF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5F7723F4-8321-43A3-962F-3DEEE5C6D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accent2"/>
                </a:solidFill>
              </a:defRPr>
            </a:lvl1pPr>
            <a:lvl2pPr>
              <a:defRPr sz="14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17B18B8B-EB09-48D8-AC31-3A9DFAC0B7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697609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dark Gradient">
    <p:bg>
      <p:bgPr>
        <a:gradFill>
          <a:gsLst>
            <a:gs pos="100000">
              <a:schemeClr val="accent1"/>
            </a:gs>
            <a:gs pos="0">
              <a:schemeClr val="accent5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>
            <p:custDataLst>
              <p:tags r:id="rId1"/>
            </p:custDataLst>
          </p:nvPr>
        </p:nvSpPr>
        <p:spPr>
          <a:xfrm>
            <a:off x="989263" y="5750095"/>
            <a:ext cx="21416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41" name="Freeform 19">
            <a:extLst>
              <a:ext uri="{FF2B5EF4-FFF2-40B4-BE49-F238E27FC236}">
                <a16:creationId xmlns:a16="http://schemas.microsoft.com/office/drawing/2014/main" id="{C5124DCF-42F4-4BBE-BCAC-C24058AAE43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371311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71E9CC-2A2B-4C75-8522-60824F3AC7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2" y="3702050"/>
            <a:ext cx="6660000" cy="1843088"/>
          </a:xfrm>
        </p:spPr>
        <p:txBody>
          <a:bodyPr anchor="b"/>
          <a:lstStyle>
            <a:lvl1pPr>
              <a:spcAft>
                <a:spcPts val="1000"/>
              </a:spcAft>
              <a:defRPr sz="900" b="0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 sz="9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E01CBC1-FC71-43BD-845D-21EEEFA256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9012" y="3351965"/>
            <a:ext cx="2411738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bg1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C4D5492-D401-42A2-B377-EA27220983D3}"/>
              </a:ext>
            </a:extLst>
          </p:cNvPr>
          <p:cNvGrpSpPr/>
          <p:nvPr userDrawn="1"/>
        </p:nvGrpSpPr>
        <p:grpSpPr>
          <a:xfrm>
            <a:off x="998476" y="2881529"/>
            <a:ext cx="2023200" cy="367957"/>
            <a:chOff x="998476" y="2881529"/>
            <a:chExt cx="2023200" cy="36795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F196AFE-0767-4ACF-9869-412F4845EABF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E42C7C2-E55C-467A-A194-4BA78575F316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45E1FE7-629E-4892-B2EB-2FDAB3326BE5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7E3B322-EB53-4C7E-8968-4B7B3CE2432E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F3E6F56-5300-4CC2-8B6F-98341C903A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10" name="Picture 9" descr="Icon&#10;&#10;Description automatically generated">
              <a:extLst>
                <a:ext uri="{FF2B5EF4-FFF2-40B4-BE49-F238E27FC236}">
                  <a16:creationId xmlns:a16="http://schemas.microsoft.com/office/drawing/2014/main" id="{5688464F-C48A-4F62-97E1-E717A76F03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12" name="Picture 11" descr="Logo&#10;&#10;Description automatically generated">
              <a:extLst>
                <a:ext uri="{FF2B5EF4-FFF2-40B4-BE49-F238E27FC236}">
                  <a16:creationId xmlns:a16="http://schemas.microsoft.com/office/drawing/2014/main" id="{3DBC0AA5-6153-434E-A0C9-A5D940745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13" name="Picture 12" descr="Logo&#10;&#10;Description automatically generated">
              <a:extLst>
                <a:ext uri="{FF2B5EF4-FFF2-40B4-BE49-F238E27FC236}">
                  <a16:creationId xmlns:a16="http://schemas.microsoft.com/office/drawing/2014/main" id="{809B7D2B-5280-4ED4-B112-B6C654C52E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14" name="Picture 13" descr="Icon&#10;&#10;Description automatically generated">
              <a:extLst>
                <a:ext uri="{FF2B5EF4-FFF2-40B4-BE49-F238E27FC236}">
                  <a16:creationId xmlns:a16="http://schemas.microsoft.com/office/drawing/2014/main" id="{B338E268-56D8-4524-BB26-DA84FEEF86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672736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light gradient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>
            <p:custDataLst>
              <p:tags r:id="rId1"/>
            </p:custDataLst>
          </p:nvPr>
        </p:nvSpPr>
        <p:spPr>
          <a:xfrm>
            <a:off x="989263" y="5750095"/>
            <a:ext cx="2141612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 kern="1200" noProof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41" name="Freeform 19">
            <a:extLst>
              <a:ext uri="{FF2B5EF4-FFF2-40B4-BE49-F238E27FC236}">
                <a16:creationId xmlns:a16="http://schemas.microsoft.com/office/drawing/2014/main" id="{C5124DCF-42F4-4BBE-BCAC-C24058AAE43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371311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835BAAE-8387-4EE5-AB59-6FBE19144C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2" y="3702050"/>
            <a:ext cx="6660000" cy="1843088"/>
          </a:xfrm>
        </p:spPr>
        <p:txBody>
          <a:bodyPr anchor="b"/>
          <a:lstStyle>
            <a:lvl1pPr>
              <a:spcAft>
                <a:spcPts val="1000"/>
              </a:spcAft>
              <a:defRPr sz="900" b="0">
                <a:solidFill>
                  <a:schemeClr val="accent2"/>
                </a:solidFill>
              </a:defRPr>
            </a:lvl1pPr>
            <a:lvl2pPr>
              <a:spcAft>
                <a:spcPts val="1000"/>
              </a:spcAft>
              <a:defRPr sz="900" b="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3B40796-98D9-465A-9944-CCD9D00EE9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9012" y="3351965"/>
            <a:ext cx="2411738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accent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AD33E6D-5377-46E3-B1FF-E91C54D03F04}"/>
              </a:ext>
            </a:extLst>
          </p:cNvPr>
          <p:cNvGrpSpPr/>
          <p:nvPr userDrawn="1"/>
        </p:nvGrpSpPr>
        <p:grpSpPr>
          <a:xfrm>
            <a:off x="998476" y="2881529"/>
            <a:ext cx="2023200" cy="367957"/>
            <a:chOff x="998476" y="2881529"/>
            <a:chExt cx="2023200" cy="367957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4461B7-55B7-4469-ADF0-D4A2CB8F5710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6F734C6-FA66-47AA-9466-88AC05333E29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B928039-DB0D-4F9F-A695-D6F65A328FCD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E314CEC-778A-45F5-AF53-25973CFF2C6E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7A5A09B0-ADE2-48D6-9500-156D9353A9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4" name="Picture 23" descr="Icon&#10;&#10;Description automatically generated">
              <a:extLst>
                <a:ext uri="{FF2B5EF4-FFF2-40B4-BE49-F238E27FC236}">
                  <a16:creationId xmlns:a16="http://schemas.microsoft.com/office/drawing/2014/main" id="{7D51E6DF-03C0-4528-A826-C16F599ABA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5" name="Picture 24" descr="Logo&#10;&#10;Description automatically generated">
              <a:extLst>
                <a:ext uri="{FF2B5EF4-FFF2-40B4-BE49-F238E27FC236}">
                  <a16:creationId xmlns:a16="http://schemas.microsoft.com/office/drawing/2014/main" id="{B7A09755-6B8F-4E6B-95E4-A3F59CF5D0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26" name="Picture 25" descr="Logo&#10;&#10;Description automatically generated">
              <a:extLst>
                <a:ext uri="{FF2B5EF4-FFF2-40B4-BE49-F238E27FC236}">
                  <a16:creationId xmlns:a16="http://schemas.microsoft.com/office/drawing/2014/main" id="{FF482287-E023-4BA0-BEEC-A27AF495C2F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475EF34B-0D63-4B5C-BF0F-AA0D0D345D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478150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FF5724-C137-47F3-B441-6C1B9714F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CC0FFF-EDF5-49D0-8C1F-A5D5BA3335B9}"/>
              </a:ext>
            </a:extLst>
          </p:cNvPr>
          <p:cNvSpPr/>
          <p:nvPr userDrawn="1"/>
        </p:nvSpPr>
        <p:spPr>
          <a:xfrm>
            <a:off x="998351" y="2246533"/>
            <a:ext cx="839614" cy="411225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26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1F4118-D01B-40DD-940F-068338DB15A5}"/>
              </a:ext>
            </a:extLst>
          </p:cNvPr>
          <p:cNvSpPr/>
          <p:nvPr userDrawn="1"/>
        </p:nvSpPr>
        <p:spPr>
          <a:xfrm>
            <a:off x="998351" y="1731971"/>
            <a:ext cx="839614" cy="411225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97C791-7BB0-4AC9-BDE9-68939F34221B}"/>
              </a:ext>
            </a:extLst>
          </p:cNvPr>
          <p:cNvSpPr/>
          <p:nvPr userDrawn="1"/>
        </p:nvSpPr>
        <p:spPr>
          <a:xfrm>
            <a:off x="998351" y="2761094"/>
            <a:ext cx="839614" cy="411225"/>
          </a:xfrm>
          <a:prstGeom prst="rect">
            <a:avLst/>
          </a:prstGeom>
          <a:solidFill>
            <a:srgbClr val="0C2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5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6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693543-F502-48B0-9E65-053408E60BF0}"/>
              </a:ext>
            </a:extLst>
          </p:cNvPr>
          <p:cNvSpPr/>
          <p:nvPr userDrawn="1"/>
        </p:nvSpPr>
        <p:spPr>
          <a:xfrm>
            <a:off x="998351" y="3275656"/>
            <a:ext cx="839614" cy="411225"/>
          </a:xfrm>
          <a:prstGeom prst="rect">
            <a:avLst/>
          </a:prstGeom>
          <a:solidFill>
            <a:srgbClr val="AC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2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34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897B22-3CA8-4621-8A3B-B9D2E3D07988}"/>
              </a:ext>
            </a:extLst>
          </p:cNvPr>
          <p:cNvSpPr txBox="1"/>
          <p:nvPr userDrawn="1"/>
        </p:nvSpPr>
        <p:spPr>
          <a:xfrm>
            <a:off x="983882" y="1330325"/>
            <a:ext cx="1364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rimary Colo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07E492-5EF0-4085-AA14-90D280B1DF69}"/>
              </a:ext>
            </a:extLst>
          </p:cNvPr>
          <p:cNvSpPr txBox="1"/>
          <p:nvPr userDrawn="1"/>
        </p:nvSpPr>
        <p:spPr>
          <a:xfrm>
            <a:off x="1921682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Spectrum Blu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28A2D81-3A9C-47D3-8174-874F601607DC}"/>
              </a:ext>
            </a:extLst>
          </p:cNvPr>
          <p:cNvSpPr txBox="1"/>
          <p:nvPr userDrawn="1"/>
        </p:nvSpPr>
        <p:spPr>
          <a:xfrm>
            <a:off x="1921682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KPMG blu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C791116-D184-4C43-9C1C-30181CDF0E84}"/>
              </a:ext>
            </a:extLst>
          </p:cNvPr>
          <p:cNvSpPr txBox="1"/>
          <p:nvPr userDrawn="1"/>
        </p:nvSpPr>
        <p:spPr>
          <a:xfrm>
            <a:off x="1921682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Light Blu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6B15E2D-58A0-4506-8A15-E27C173174FA}"/>
              </a:ext>
            </a:extLst>
          </p:cNvPr>
          <p:cNvGrpSpPr/>
          <p:nvPr userDrawn="1"/>
        </p:nvGrpSpPr>
        <p:grpSpPr>
          <a:xfrm>
            <a:off x="2999643" y="1731971"/>
            <a:ext cx="2177326" cy="411225"/>
            <a:chOff x="2992848" y="1717717"/>
            <a:chExt cx="2177326" cy="411225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2309040-9C95-48FE-AA99-4757E8328519}"/>
                </a:ext>
              </a:extLst>
            </p:cNvPr>
            <p:cNvSpPr/>
            <p:nvPr userDrawn="1"/>
          </p:nvSpPr>
          <p:spPr>
            <a:xfrm>
              <a:off x="2992848" y="1717717"/>
              <a:ext cx="839614" cy="411225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A430D78-5EDB-481E-BB6D-67D8689BCE11}"/>
                </a:ext>
              </a:extLst>
            </p:cNvPr>
            <p:cNvSpPr txBox="1"/>
            <p:nvPr userDrawn="1"/>
          </p:nvSpPr>
          <p:spPr>
            <a:xfrm>
              <a:off x="3916179" y="1802518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Blue</a:t>
              </a: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E42EE987-0425-4CD8-B75D-E3E8F8C2096D}"/>
              </a:ext>
            </a:extLst>
          </p:cNvPr>
          <p:cNvSpPr txBox="1"/>
          <p:nvPr userDrawn="1"/>
        </p:nvSpPr>
        <p:spPr>
          <a:xfrm>
            <a:off x="1921682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Cobalt Blu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356161F-C4E7-4F32-B00D-D64EBA9D34CA}"/>
              </a:ext>
            </a:extLst>
          </p:cNvPr>
          <p:cNvGrpSpPr/>
          <p:nvPr userDrawn="1"/>
        </p:nvGrpSpPr>
        <p:grpSpPr>
          <a:xfrm>
            <a:off x="998351" y="3783824"/>
            <a:ext cx="2177326" cy="1433953"/>
            <a:chOff x="998351" y="4298384"/>
            <a:chExt cx="2177326" cy="143395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453D312-00EF-44B5-9D91-290BE0E19654}"/>
                </a:ext>
              </a:extLst>
            </p:cNvPr>
            <p:cNvSpPr/>
            <p:nvPr userDrawn="1"/>
          </p:nvSpPr>
          <p:spPr>
            <a:xfrm>
              <a:off x="998351" y="4298384"/>
              <a:ext cx="839614" cy="411225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8D98991-520C-4FD6-8B23-8732995E56B1}"/>
                </a:ext>
              </a:extLst>
            </p:cNvPr>
            <p:cNvSpPr/>
            <p:nvPr userDrawn="1"/>
          </p:nvSpPr>
          <p:spPr>
            <a:xfrm>
              <a:off x="998351" y="4812944"/>
              <a:ext cx="839614" cy="411225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FA38B4C-5B80-413E-B283-1F1ADBFD09CD}"/>
                </a:ext>
              </a:extLst>
            </p:cNvPr>
            <p:cNvSpPr/>
            <p:nvPr userDrawn="1"/>
          </p:nvSpPr>
          <p:spPr>
            <a:xfrm>
              <a:off x="998351" y="5321112"/>
              <a:ext cx="839614" cy="411225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B01B4DF-404A-4544-B313-2720FCBDD0B4}"/>
                </a:ext>
              </a:extLst>
            </p:cNvPr>
            <p:cNvSpPr txBox="1"/>
            <p:nvPr userDrawn="1"/>
          </p:nvSpPr>
          <p:spPr>
            <a:xfrm>
              <a:off x="1921682" y="4386074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acific Blue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6DFA940-4699-43CF-A21A-AE4227704697}"/>
                </a:ext>
              </a:extLst>
            </p:cNvPr>
            <p:cNvSpPr txBox="1"/>
            <p:nvPr userDrawn="1"/>
          </p:nvSpPr>
          <p:spPr>
            <a:xfrm>
              <a:off x="1921682" y="4897131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urple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9A40265-6498-4E16-877D-6BC9A8CE7DCA}"/>
                </a:ext>
              </a:extLst>
            </p:cNvPr>
            <p:cNvSpPr txBox="1"/>
            <p:nvPr userDrawn="1"/>
          </p:nvSpPr>
          <p:spPr>
            <a:xfrm>
              <a:off x="1921682" y="5408191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ink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8B231EB6-12A0-47AA-88B0-D248845383EA}"/>
              </a:ext>
            </a:extLst>
          </p:cNvPr>
          <p:cNvSpPr txBox="1"/>
          <p:nvPr userDrawn="1"/>
        </p:nvSpPr>
        <p:spPr>
          <a:xfrm>
            <a:off x="2992848" y="1330325"/>
            <a:ext cx="19463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Accent Colors for Infographics and charts onl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B6D9AD-8E94-4A62-B92C-C973F5486E37}"/>
              </a:ext>
            </a:extLst>
          </p:cNvPr>
          <p:cNvSpPr/>
          <p:nvPr userDrawn="1"/>
        </p:nvSpPr>
        <p:spPr>
          <a:xfrm>
            <a:off x="2999643" y="2240139"/>
            <a:ext cx="839614" cy="411225"/>
          </a:xfrm>
          <a:prstGeom prst="rect">
            <a:avLst/>
          </a:prstGeom>
          <a:solidFill>
            <a:srgbClr val="510D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8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377AFC-4BDC-44AC-80A6-06A9503B868A}"/>
              </a:ext>
            </a:extLst>
          </p:cNvPr>
          <p:cNvSpPr/>
          <p:nvPr userDrawn="1"/>
        </p:nvSpPr>
        <p:spPr>
          <a:xfrm>
            <a:off x="2999643" y="2754701"/>
            <a:ext cx="839614" cy="411225"/>
          </a:xfrm>
          <a:prstGeom prst="rect">
            <a:avLst/>
          </a:prstGeom>
          <a:solidFill>
            <a:srgbClr val="B4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8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55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B8F1FC7-CA8A-485A-9440-4EA69DF44F1B}"/>
              </a:ext>
            </a:extLst>
          </p:cNvPr>
          <p:cNvSpPr/>
          <p:nvPr userDrawn="1"/>
        </p:nvSpPr>
        <p:spPr>
          <a:xfrm>
            <a:off x="2999643" y="3269262"/>
            <a:ext cx="839614" cy="411225"/>
          </a:xfrm>
          <a:prstGeom prst="rect">
            <a:avLst/>
          </a:prstGeom>
          <a:solidFill>
            <a:srgbClr val="AB0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7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F4DC1F0-F2DB-41DC-B843-C645575C978D}"/>
              </a:ext>
            </a:extLst>
          </p:cNvPr>
          <p:cNvSpPr/>
          <p:nvPr userDrawn="1"/>
        </p:nvSpPr>
        <p:spPr>
          <a:xfrm>
            <a:off x="2999643" y="3783824"/>
            <a:ext cx="839614" cy="411225"/>
          </a:xfrm>
          <a:prstGeom prst="rect">
            <a:avLst/>
          </a:prstGeom>
          <a:solidFill>
            <a:srgbClr val="FFA3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63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8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FDCCC15-7DDA-4C27-A66A-86FEF3CE0FDB}"/>
              </a:ext>
            </a:extLst>
          </p:cNvPr>
          <p:cNvSpPr/>
          <p:nvPr userDrawn="1"/>
        </p:nvSpPr>
        <p:spPr>
          <a:xfrm>
            <a:off x="2999643" y="4298384"/>
            <a:ext cx="839614" cy="411225"/>
          </a:xfrm>
          <a:prstGeom prst="rect">
            <a:avLst/>
          </a:prstGeom>
          <a:solidFill>
            <a:srgbClr val="098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26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6A7B705-A81A-45EE-B7F8-A08C39775723}"/>
              </a:ext>
            </a:extLst>
          </p:cNvPr>
          <p:cNvSpPr/>
          <p:nvPr userDrawn="1"/>
        </p:nvSpPr>
        <p:spPr>
          <a:xfrm>
            <a:off x="2999643" y="4806552"/>
            <a:ext cx="839614" cy="411225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74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0C56EF7-AC83-449B-8CC3-F1D314081B92}"/>
              </a:ext>
            </a:extLst>
          </p:cNvPr>
          <p:cNvSpPr/>
          <p:nvPr userDrawn="1"/>
        </p:nvSpPr>
        <p:spPr>
          <a:xfrm>
            <a:off x="2999643" y="5321112"/>
            <a:ext cx="839614" cy="411225"/>
          </a:xfrm>
          <a:prstGeom prst="rect">
            <a:avLst/>
          </a:prstGeom>
          <a:solidFill>
            <a:srgbClr val="63EB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accent3"/>
                </a:solidFill>
              </a:rPr>
              <a:t>99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35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18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4556660-1591-47B1-B18E-F2FCE5FDCA50}"/>
              </a:ext>
            </a:extLst>
          </p:cNvPr>
          <p:cNvGrpSpPr/>
          <p:nvPr userDrawn="1"/>
        </p:nvGrpSpPr>
        <p:grpSpPr>
          <a:xfrm>
            <a:off x="3971416" y="2338957"/>
            <a:ext cx="1253995" cy="3303408"/>
            <a:chOff x="2169429" y="1756308"/>
            <a:chExt cx="2286000" cy="3303408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1242448-F6EA-445E-86F6-56F1F6B8DCA0}"/>
                </a:ext>
              </a:extLst>
            </p:cNvPr>
            <p:cNvSpPr txBox="1"/>
            <p:nvPr userDrawn="1"/>
          </p:nvSpPr>
          <p:spPr>
            <a:xfrm>
              <a:off x="2169429" y="2778422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ink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9F2D96E-0391-44D3-9D85-C49CD2682224}"/>
                </a:ext>
              </a:extLst>
            </p:cNvPr>
            <p:cNvSpPr txBox="1"/>
            <p:nvPr userDrawn="1"/>
          </p:nvSpPr>
          <p:spPr>
            <a:xfrm>
              <a:off x="2169429" y="1756308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urple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12A9094-C141-4137-91C8-07CDF0270449}"/>
                </a:ext>
              </a:extLst>
            </p:cNvPr>
            <p:cNvSpPr txBox="1"/>
            <p:nvPr userDrawn="1"/>
          </p:nvSpPr>
          <p:spPr>
            <a:xfrm>
              <a:off x="2169429" y="3289479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ink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455B7B5-73DE-46AF-B400-88997B50AD80}"/>
                </a:ext>
              </a:extLst>
            </p:cNvPr>
            <p:cNvSpPr txBox="1"/>
            <p:nvPr userDrawn="1"/>
          </p:nvSpPr>
          <p:spPr>
            <a:xfrm>
              <a:off x="2169429" y="3800536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Green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B4C4881-6213-41A5-AC03-CCE78498A9AE}"/>
                </a:ext>
              </a:extLst>
            </p:cNvPr>
            <p:cNvSpPr txBox="1"/>
            <p:nvPr userDrawn="1"/>
          </p:nvSpPr>
          <p:spPr>
            <a:xfrm>
              <a:off x="2169429" y="2267365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urpl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40387EA-5FDE-4F6F-BAF2-604549CCD0F0}"/>
                </a:ext>
              </a:extLst>
            </p:cNvPr>
            <p:cNvSpPr txBox="1"/>
            <p:nvPr userDrawn="1"/>
          </p:nvSpPr>
          <p:spPr>
            <a:xfrm>
              <a:off x="2169429" y="4311593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en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92671DE-F6BD-48CB-B11C-208DD1F1CCB3}"/>
                </a:ext>
              </a:extLst>
            </p:cNvPr>
            <p:cNvSpPr txBox="1"/>
            <p:nvPr userDrawn="1"/>
          </p:nvSpPr>
          <p:spPr>
            <a:xfrm>
              <a:off x="2169429" y="4822650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Green</a:t>
              </a:r>
            </a:p>
          </p:txBody>
        </p: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35C7B945-9627-4D94-B008-C987FEA96972}"/>
              </a:ext>
            </a:extLst>
          </p:cNvPr>
          <p:cNvSpPr/>
          <p:nvPr userDrawn="1"/>
        </p:nvSpPr>
        <p:spPr>
          <a:xfrm>
            <a:off x="5232206" y="1731971"/>
            <a:ext cx="839614" cy="411225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EB1F170-4966-4AAF-ABAA-3D2A0369F7FA}"/>
              </a:ext>
            </a:extLst>
          </p:cNvPr>
          <p:cNvSpPr/>
          <p:nvPr userDrawn="1"/>
        </p:nvSpPr>
        <p:spPr>
          <a:xfrm>
            <a:off x="5232206" y="2246533"/>
            <a:ext cx="839614" cy="411225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033C2B2-E4D1-4420-8509-EC1E2C80321F}"/>
              </a:ext>
            </a:extLst>
          </p:cNvPr>
          <p:cNvSpPr txBox="1"/>
          <p:nvPr userDrawn="1"/>
        </p:nvSpPr>
        <p:spPr>
          <a:xfrm>
            <a:off x="5225411" y="1330325"/>
            <a:ext cx="154522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Neutrals for Infographics and charts only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BFC6FF0-9D30-4829-A667-26B9E6467077}"/>
              </a:ext>
            </a:extLst>
          </p:cNvPr>
          <p:cNvSpPr/>
          <p:nvPr userDrawn="1"/>
        </p:nvSpPr>
        <p:spPr>
          <a:xfrm>
            <a:off x="5232206" y="2761094"/>
            <a:ext cx="839614" cy="411225"/>
          </a:xfrm>
          <a:prstGeom prst="rect">
            <a:avLst/>
          </a:prstGeom>
          <a:solidFill>
            <a:srgbClr val="9898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F40F7A4-A491-46D0-AC78-F38FB368D987}"/>
              </a:ext>
            </a:extLst>
          </p:cNvPr>
          <p:cNvSpPr/>
          <p:nvPr userDrawn="1"/>
        </p:nvSpPr>
        <p:spPr>
          <a:xfrm>
            <a:off x="5232206" y="3275656"/>
            <a:ext cx="839614" cy="411225"/>
          </a:xfrm>
          <a:prstGeom prst="rect">
            <a:avLst/>
          </a:prstGeom>
          <a:solidFill>
            <a:srgbClr val="B2B2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22CE48C-CD62-438B-AF1B-E80398CE41CF}"/>
              </a:ext>
            </a:extLst>
          </p:cNvPr>
          <p:cNvSpPr/>
          <p:nvPr userDrawn="1"/>
        </p:nvSpPr>
        <p:spPr>
          <a:xfrm>
            <a:off x="5232206" y="3790216"/>
            <a:ext cx="839614" cy="41122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FA814C9-BD96-4348-B664-2AD4A5DAAB12}"/>
              </a:ext>
            </a:extLst>
          </p:cNvPr>
          <p:cNvSpPr txBox="1"/>
          <p:nvPr userDrawn="1"/>
        </p:nvSpPr>
        <p:spPr>
          <a:xfrm>
            <a:off x="6203980" y="2852903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3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38E8C09-0782-4E70-887B-080A8FC240A9}"/>
              </a:ext>
            </a:extLst>
          </p:cNvPr>
          <p:cNvSpPr txBox="1"/>
          <p:nvPr userDrawn="1"/>
        </p:nvSpPr>
        <p:spPr>
          <a:xfrm>
            <a:off x="6203980" y="1830789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C3E17E9-EAB5-401D-99B5-E01BBCBAAE59}"/>
              </a:ext>
            </a:extLst>
          </p:cNvPr>
          <p:cNvSpPr txBox="1"/>
          <p:nvPr userDrawn="1"/>
        </p:nvSpPr>
        <p:spPr>
          <a:xfrm>
            <a:off x="6203980" y="3363960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4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A95C41B-9591-4042-8AC0-03DBDA91FD18}"/>
              </a:ext>
            </a:extLst>
          </p:cNvPr>
          <p:cNvSpPr txBox="1"/>
          <p:nvPr userDrawn="1"/>
        </p:nvSpPr>
        <p:spPr>
          <a:xfrm>
            <a:off x="6203980" y="3875017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5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924189F-5F86-46B9-810F-1AF60243011B}"/>
              </a:ext>
            </a:extLst>
          </p:cNvPr>
          <p:cNvSpPr txBox="1"/>
          <p:nvPr userDrawn="1"/>
        </p:nvSpPr>
        <p:spPr>
          <a:xfrm>
            <a:off x="6203980" y="2341846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ACB48A6-B340-401D-8994-A0E53291AC9B}"/>
              </a:ext>
            </a:extLst>
          </p:cNvPr>
          <p:cNvSpPr/>
          <p:nvPr userDrawn="1"/>
        </p:nvSpPr>
        <p:spPr>
          <a:xfrm>
            <a:off x="7170486" y="2670083"/>
            <a:ext cx="839614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6F71474-A782-4BB1-8B9F-8DCCEAF88E0C}"/>
              </a:ext>
            </a:extLst>
          </p:cNvPr>
          <p:cNvSpPr/>
          <p:nvPr userDrawn="1"/>
        </p:nvSpPr>
        <p:spPr>
          <a:xfrm>
            <a:off x="9170077" y="2670083"/>
            <a:ext cx="839614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102BFCC-8EF9-4273-ADB0-A655CD827F66}"/>
              </a:ext>
            </a:extLst>
          </p:cNvPr>
          <p:cNvSpPr txBox="1"/>
          <p:nvPr userDrawn="1"/>
        </p:nvSpPr>
        <p:spPr>
          <a:xfrm>
            <a:off x="8028290" y="2757773"/>
            <a:ext cx="1568421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urple/</a:t>
            </a:r>
            <a:br>
              <a:rPr lang="en-GB" sz="1000"/>
            </a:br>
            <a:r>
              <a:rPr lang="en-GB" sz="1000"/>
              <a:t>Cobalt gradi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2D8D802-07C6-434C-B36C-582D2F2FAF7C}"/>
              </a:ext>
            </a:extLst>
          </p:cNvPr>
          <p:cNvSpPr txBox="1"/>
          <p:nvPr userDrawn="1"/>
        </p:nvSpPr>
        <p:spPr>
          <a:xfrm>
            <a:off x="10100206" y="2869887"/>
            <a:ext cx="1709098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acific/</a:t>
            </a:r>
            <a:br>
              <a:rPr lang="en-GB" sz="1000"/>
            </a:br>
            <a:r>
              <a:rPr lang="en-GB" sz="1000"/>
              <a:t>Light Blue gradien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56630A0-1CC3-4558-99F3-72A9846C3FA4}"/>
              </a:ext>
            </a:extLst>
          </p:cNvPr>
          <p:cNvSpPr txBox="1"/>
          <p:nvPr userDrawn="1"/>
        </p:nvSpPr>
        <p:spPr>
          <a:xfrm>
            <a:off x="7146554" y="1298952"/>
            <a:ext cx="4047046" cy="12695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Gradient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</a:t>
            </a:r>
            <a:r>
              <a:rPr lang="en-GB" sz="1000" b="0" err="1">
                <a:solidFill>
                  <a:sysClr val="windowText" lastClr="000000"/>
                </a:solidFill>
              </a:rPr>
              <a:t>colors</a:t>
            </a:r>
            <a:r>
              <a:rPr lang="en-GB" sz="1000" b="0">
                <a:solidFill>
                  <a:sysClr val="windowText" lastClr="000000"/>
                </a:solidFill>
              </a:rPr>
              <a:t> are applied at both ends of the gradient, at 0% and 100% location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Do not create new gradients; use only the gradients shown her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D5AAA1F-BD76-48F7-8C50-6E5979B9537B}"/>
              </a:ext>
            </a:extLst>
          </p:cNvPr>
          <p:cNvSpPr>
            <a:spLocks/>
          </p:cNvSpPr>
          <p:nvPr userDrawn="1"/>
        </p:nvSpPr>
        <p:spPr>
          <a:xfrm>
            <a:off x="5225411" y="4304594"/>
            <a:ext cx="839614" cy="41122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485E89C-C25F-4DDF-BA6F-8600323267FE}"/>
              </a:ext>
            </a:extLst>
          </p:cNvPr>
          <p:cNvSpPr txBox="1"/>
          <p:nvPr userDrawn="1"/>
        </p:nvSpPr>
        <p:spPr>
          <a:xfrm>
            <a:off x="6197185" y="4389395"/>
            <a:ext cx="714476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Whit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47E9F40-D028-425F-96B1-C73C59C9C8EF}"/>
              </a:ext>
            </a:extLst>
          </p:cNvPr>
          <p:cNvSpPr txBox="1"/>
          <p:nvPr userDrawn="1"/>
        </p:nvSpPr>
        <p:spPr>
          <a:xfrm>
            <a:off x="7146554" y="3336981"/>
            <a:ext cx="1194238" cy="153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Traffic Light Palett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2E77BBC-829E-4B5B-9C1B-B9C1344A811F}"/>
              </a:ext>
            </a:extLst>
          </p:cNvPr>
          <p:cNvSpPr>
            <a:spLocks/>
          </p:cNvSpPr>
          <p:nvPr userDrawn="1"/>
        </p:nvSpPr>
        <p:spPr>
          <a:xfrm>
            <a:off x="9353776" y="3589581"/>
            <a:ext cx="839614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86053ADE-6CEF-4806-8C0F-B8BEED546A81}"/>
              </a:ext>
            </a:extLst>
          </p:cNvPr>
          <p:cNvSpPr>
            <a:spLocks/>
          </p:cNvSpPr>
          <p:nvPr userDrawn="1"/>
        </p:nvSpPr>
        <p:spPr>
          <a:xfrm>
            <a:off x="8262131" y="3589581"/>
            <a:ext cx="839614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FEC18AD-6921-4293-966A-F31741528B23}"/>
              </a:ext>
            </a:extLst>
          </p:cNvPr>
          <p:cNvSpPr>
            <a:spLocks/>
          </p:cNvSpPr>
          <p:nvPr userDrawn="1"/>
        </p:nvSpPr>
        <p:spPr>
          <a:xfrm>
            <a:off x="7170486" y="3589581"/>
            <a:ext cx="839614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D3C657F-FD1E-40E0-B00F-F92EC3693861}"/>
              </a:ext>
            </a:extLst>
          </p:cNvPr>
          <p:cNvSpPr txBox="1"/>
          <p:nvPr userDrawn="1"/>
        </p:nvSpPr>
        <p:spPr>
          <a:xfrm>
            <a:off x="7146553" y="4285684"/>
            <a:ext cx="4159622" cy="6263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F87E5F4-3A2B-41F8-A4AA-BA7FFC573394}"/>
              </a:ext>
            </a:extLst>
          </p:cNvPr>
          <p:cNvCxnSpPr/>
          <p:nvPr userDrawn="1"/>
        </p:nvCxnSpPr>
        <p:spPr>
          <a:xfrm>
            <a:off x="7170486" y="324260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8639F51-9F8C-4D36-8737-7A3DAC84F1DA}"/>
              </a:ext>
            </a:extLst>
          </p:cNvPr>
          <p:cNvCxnSpPr/>
          <p:nvPr userDrawn="1"/>
        </p:nvCxnSpPr>
        <p:spPr>
          <a:xfrm>
            <a:off x="7170486" y="417664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B8890E6-18C7-479B-B73B-0C731D264307}"/>
              </a:ext>
            </a:extLst>
          </p:cNvPr>
          <p:cNvGrpSpPr/>
          <p:nvPr userDrawn="1"/>
        </p:nvGrpSpPr>
        <p:grpSpPr>
          <a:xfrm>
            <a:off x="7170486" y="5015319"/>
            <a:ext cx="4023114" cy="868052"/>
            <a:chOff x="6942744" y="5227726"/>
            <a:chExt cx="6397168" cy="1380293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D9642345-2D6B-4C6E-A9F2-A02D26D51DDD}"/>
                </a:ext>
              </a:extLst>
            </p:cNvPr>
            <p:cNvSpPr/>
            <p:nvPr userDrawn="1"/>
          </p:nvSpPr>
          <p:spPr>
            <a:xfrm>
              <a:off x="8821942" y="5227726"/>
              <a:ext cx="759576" cy="592341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54B75BE9-8F9E-40F1-AE85-B929BD14E4F6}"/>
                </a:ext>
              </a:extLst>
            </p:cNvPr>
            <p:cNvSpPr/>
            <p:nvPr userDrawn="1"/>
          </p:nvSpPr>
          <p:spPr>
            <a:xfrm>
              <a:off x="6942744" y="5227726"/>
              <a:ext cx="759576" cy="592341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403512C6-1015-4893-B421-D2CA83BB28B7}"/>
                </a:ext>
              </a:extLst>
            </p:cNvPr>
            <p:cNvSpPr/>
            <p:nvPr userDrawn="1"/>
          </p:nvSpPr>
          <p:spPr>
            <a:xfrm>
              <a:off x="9761541" y="5227726"/>
              <a:ext cx="759576" cy="592341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8DF8AA28-67A9-4A84-A80F-52EFDEF62EC4}"/>
                </a:ext>
              </a:extLst>
            </p:cNvPr>
            <p:cNvSpPr/>
            <p:nvPr userDrawn="1"/>
          </p:nvSpPr>
          <p:spPr>
            <a:xfrm>
              <a:off x="11640737" y="5227726"/>
              <a:ext cx="759576" cy="592341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96ECD3EF-C613-49EC-B955-C33743E8DAF2}"/>
                </a:ext>
              </a:extLst>
            </p:cNvPr>
            <p:cNvSpPr/>
            <p:nvPr userDrawn="1"/>
          </p:nvSpPr>
          <p:spPr>
            <a:xfrm>
              <a:off x="8821942" y="6015678"/>
              <a:ext cx="759576" cy="592341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CEFF0E69-1303-4A97-A554-2617DBE38F85}"/>
                </a:ext>
              </a:extLst>
            </p:cNvPr>
            <p:cNvSpPr/>
            <p:nvPr userDrawn="1"/>
          </p:nvSpPr>
          <p:spPr>
            <a:xfrm>
              <a:off x="10701139" y="5227726"/>
              <a:ext cx="759576" cy="592341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D22E2F76-F5F9-4152-8B76-200BB23CF93D}"/>
                </a:ext>
              </a:extLst>
            </p:cNvPr>
            <p:cNvSpPr/>
            <p:nvPr userDrawn="1"/>
          </p:nvSpPr>
          <p:spPr>
            <a:xfrm>
              <a:off x="9761541" y="6015678"/>
              <a:ext cx="759576" cy="592341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6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F294A2C6-DAFC-45CD-86AD-3902D99F3B8E}"/>
                </a:ext>
              </a:extLst>
            </p:cNvPr>
            <p:cNvSpPr/>
            <p:nvPr userDrawn="1"/>
          </p:nvSpPr>
          <p:spPr>
            <a:xfrm>
              <a:off x="6942744" y="6015678"/>
              <a:ext cx="759576" cy="592341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E318800B-9E93-4883-840B-696F82170F32}"/>
                </a:ext>
              </a:extLst>
            </p:cNvPr>
            <p:cNvSpPr/>
            <p:nvPr userDrawn="1"/>
          </p:nvSpPr>
          <p:spPr>
            <a:xfrm>
              <a:off x="12580336" y="6015678"/>
              <a:ext cx="759576" cy="592341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99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14443132-A6B3-4990-BA37-9E2D3DE1B105}"/>
                </a:ext>
              </a:extLst>
            </p:cNvPr>
            <p:cNvSpPr/>
            <p:nvPr userDrawn="1"/>
          </p:nvSpPr>
          <p:spPr>
            <a:xfrm>
              <a:off x="7882343" y="5227726"/>
              <a:ext cx="759576" cy="592341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6C79AFB4-7A51-4309-99F1-4015E9137C5F}"/>
                </a:ext>
              </a:extLst>
            </p:cNvPr>
            <p:cNvSpPr/>
            <p:nvPr userDrawn="1"/>
          </p:nvSpPr>
          <p:spPr>
            <a:xfrm>
              <a:off x="11640737" y="6015678"/>
              <a:ext cx="759576" cy="592341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CE4F02C0-8A76-4F89-8E59-9E7549909C2A}"/>
                </a:ext>
              </a:extLst>
            </p:cNvPr>
            <p:cNvSpPr/>
            <p:nvPr userDrawn="1"/>
          </p:nvSpPr>
          <p:spPr>
            <a:xfrm>
              <a:off x="12580336" y="5227726"/>
              <a:ext cx="759576" cy="592341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29198175-1C72-4E67-BB92-6595EEDA420A}"/>
                </a:ext>
              </a:extLst>
            </p:cNvPr>
            <p:cNvSpPr/>
            <p:nvPr userDrawn="1"/>
          </p:nvSpPr>
          <p:spPr>
            <a:xfrm>
              <a:off x="10701139" y="6015678"/>
              <a:ext cx="759576" cy="592341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BB592D94-A7C3-4005-BCCE-3C53AAD95748}"/>
                </a:ext>
              </a:extLst>
            </p:cNvPr>
            <p:cNvSpPr/>
            <p:nvPr userDrawn="1"/>
          </p:nvSpPr>
          <p:spPr>
            <a:xfrm>
              <a:off x="7882343" y="6015678"/>
              <a:ext cx="759576" cy="592341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694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3 COLUMN CHART TEXT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water, sky, outdoor, boat&#10;&#10;Description automatically generated">
            <a:extLst>
              <a:ext uri="{FF2B5EF4-FFF2-40B4-BE49-F238E27FC236}">
                <a16:creationId xmlns:a16="http://schemas.microsoft.com/office/drawing/2014/main" id="{984BEAEF-0602-4E86-A4A3-9F2906ED28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DA3593A-B431-4ADA-BE4C-21EA8473564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63000">
                <a:srgbClr val="E8DCE0">
                  <a:alpha val="0"/>
                </a:srgbClr>
              </a:gs>
              <a:gs pos="7000">
                <a:srgbClr val="E8DCE0">
                  <a:alpha val="7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0C6C1EC6-E117-4B69-89BE-088A74E79D72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F1AE8424-C313-47C0-8629-5E6CDFEE831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0637FD2-012C-4200-949F-8DC016758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B4073E-9A76-4497-A20D-140FBF74D8F4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9093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3202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3202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201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19" name="Shape 8">
            <a:extLst>
              <a:ext uri="{FF2B5EF4-FFF2-40B4-BE49-F238E27FC236}">
                <a16:creationId xmlns:a16="http://schemas.microsoft.com/office/drawing/2014/main" id="{313A4DB5-DC12-470A-9F09-93D424F33379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2" name="Freeform 19">
            <a:extLst>
              <a:ext uri="{FF2B5EF4-FFF2-40B4-BE49-F238E27FC236}">
                <a16:creationId xmlns:a16="http://schemas.microsoft.com/office/drawing/2014/main" id="{A8DAF165-9DCA-4800-BC82-C4AFD136168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54260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19">
            <a:extLst>
              <a:ext uri="{FF2B5EF4-FFF2-40B4-BE49-F238E27FC236}">
                <a16:creationId xmlns:a16="http://schemas.microsoft.com/office/drawing/2014/main" id="{A5A5FA9B-A901-4A1F-9358-436BDE66E0B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371311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C1A25C-9C23-47D0-BC86-BD2474043CD3}"/>
              </a:ext>
            </a:extLst>
          </p:cNvPr>
          <p:cNvGrpSpPr/>
          <p:nvPr userDrawn="1"/>
        </p:nvGrpSpPr>
        <p:grpSpPr>
          <a:xfrm>
            <a:off x="998476" y="0"/>
            <a:ext cx="911399" cy="1485244"/>
            <a:chOff x="1008000" y="0"/>
            <a:chExt cx="911399" cy="1485244"/>
          </a:xfrm>
          <a:solidFill>
            <a:schemeClr val="bg1">
              <a:alpha val="0"/>
            </a:schemeClr>
          </a:solidFill>
        </p:grpSpPr>
        <p:sp>
          <p:nvSpPr>
            <p:cNvPr id="5" name="Freeform 19">
              <a:extLst>
                <a:ext uri="{FF2B5EF4-FFF2-40B4-BE49-F238E27FC236}">
                  <a16:creationId xmlns:a16="http://schemas.microsoft.com/office/drawing/2014/main" id="{EEC5B735-00AD-41B9-A513-0F7783FFBE36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0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9">
              <a:extLst>
                <a:ext uri="{FF2B5EF4-FFF2-40B4-BE49-F238E27FC236}">
                  <a16:creationId xmlns:a16="http://schemas.microsoft.com/office/drawing/2014/main" id="{C5CCCCF1-8E34-4341-A6C5-97CC39680E55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742622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9">
              <a:extLst>
                <a:ext uri="{FF2B5EF4-FFF2-40B4-BE49-F238E27FC236}">
                  <a16:creationId xmlns:a16="http://schemas.microsoft.com/office/drawing/2014/main" id="{162D722E-1D64-4D54-98B6-8466501BFD3D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1113933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A6246C3-5BC1-4146-9E95-B8B3F1B77C22}"/>
              </a:ext>
            </a:extLst>
          </p:cNvPr>
          <p:cNvSpPr>
            <a:spLocks/>
          </p:cNvSpPr>
          <p:nvPr userDrawn="1"/>
        </p:nvSpPr>
        <p:spPr>
          <a:xfrm>
            <a:off x="7435789" y="383795"/>
            <a:ext cx="3764024" cy="5415923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E9A5689E-A0AC-4126-A5A7-5CD8528C6C2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702252" y="4722968"/>
            <a:ext cx="3229510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702252" y="649292"/>
            <a:ext cx="3229510" cy="3950972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9939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 1">
    <p:bg>
      <p:bgPr>
        <a:gradFill>
          <a:gsLst>
            <a:gs pos="0">
              <a:schemeClr val="accent4"/>
            </a:gs>
            <a:gs pos="100000">
              <a:srgbClr val="ACE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E0A6CEE3-DE29-4946-AC1B-1DB3B6C0B06A}"/>
              </a:ext>
            </a:extLst>
          </p:cNvPr>
          <p:cNvSpPr/>
          <p:nvPr userDrawn="1"/>
        </p:nvSpPr>
        <p:spPr>
          <a:xfrm>
            <a:off x="1004888" y="762000"/>
            <a:ext cx="7524000" cy="534924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lvl="0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38925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8925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8924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19921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8499EBB9-9F37-4E4F-A46E-A453E970D66A}"/>
              </a:ext>
            </a:extLst>
          </p:cNvPr>
          <p:cNvSpPr/>
          <p:nvPr userDrawn="1"/>
        </p:nvSpPr>
        <p:spPr>
          <a:xfrm>
            <a:off x="1004888" y="762000"/>
            <a:ext cx="7524000" cy="534924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lvl="0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38925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8925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8924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2" name="Shape 8">
            <a:extLst>
              <a:ext uri="{FF2B5EF4-FFF2-40B4-BE49-F238E27FC236}">
                <a16:creationId xmlns:a16="http://schemas.microsoft.com/office/drawing/2014/main" id="{15EB5FA9-D117-4324-A3D4-5F62C3F1B10A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3" name="Freeform 19">
            <a:extLst>
              <a:ext uri="{FF2B5EF4-FFF2-40B4-BE49-F238E27FC236}">
                <a16:creationId xmlns:a16="http://schemas.microsoft.com/office/drawing/2014/main" id="{57ED9708-511F-4342-AFA6-8AD96CBF057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31324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3202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3202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201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D0689438-EDC3-428F-AB14-4791E1F80A1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4" name="Freeform 19">
            <a:extLst>
              <a:ext uri="{FF2B5EF4-FFF2-40B4-BE49-F238E27FC236}">
                <a16:creationId xmlns:a16="http://schemas.microsoft.com/office/drawing/2014/main" id="{4756D11E-843A-4108-BB05-CE8E849F0C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3CCFEB3-A0E6-490B-9CC7-1941D6F614A9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2799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EAE64370-786B-4EB9-A918-4498A437E6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788EE33-7A33-4169-88D0-D538A8D5A20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84956">
                <a:schemeClr val="bg1">
                  <a:alpha val="0"/>
                </a:schemeClr>
              </a:gs>
              <a:gs pos="36000">
                <a:schemeClr val="bg1">
                  <a:alpha val="83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3202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3202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201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D0689438-EDC3-428F-AB14-4791E1F80A1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4" name="Freeform 19">
            <a:extLst>
              <a:ext uri="{FF2B5EF4-FFF2-40B4-BE49-F238E27FC236}">
                <a16:creationId xmlns:a16="http://schemas.microsoft.com/office/drawing/2014/main" id="{4756D11E-843A-4108-BB05-CE8E849F0C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C32650-1A1E-4438-8EB0-88F6AE4DE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3CCFEB3-A0E6-490B-9CC7-1941D6F614A9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51041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erson talking on a cell phone&#10;&#10;Description automatically generated with medium confidence">
            <a:extLst>
              <a:ext uri="{FF2B5EF4-FFF2-40B4-BE49-F238E27FC236}">
                <a16:creationId xmlns:a16="http://schemas.microsoft.com/office/drawing/2014/main" id="{2B1EB00E-DCFB-4436-A4B2-99F40E7C13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3202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3202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201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D0689438-EDC3-428F-AB14-4791E1F80A1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4" name="Freeform 19">
            <a:extLst>
              <a:ext uri="{FF2B5EF4-FFF2-40B4-BE49-F238E27FC236}">
                <a16:creationId xmlns:a16="http://schemas.microsoft.com/office/drawing/2014/main" id="{4756D11E-843A-4108-BB05-CE8E849F0C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C32650-1A1E-4438-8EB0-88F6AE4DE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3CCFEB3-A0E6-490B-9CC7-1941D6F614A9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03150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60CC9B0-8CF1-42D8-9E4B-C7BC505E3516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12192000" cy="685800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DABDAF5-AB7D-4EFC-9A3E-DFF37098219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63000">
                <a:srgbClr val="E8DCE0">
                  <a:alpha val="0"/>
                </a:srgbClr>
              </a:gs>
              <a:gs pos="7000">
                <a:srgbClr val="E8DCE0">
                  <a:alpha val="7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3202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3202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201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D0689438-EDC3-428F-AB14-4791E1F80A1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4" name="Freeform 19">
            <a:extLst>
              <a:ext uri="{FF2B5EF4-FFF2-40B4-BE49-F238E27FC236}">
                <a16:creationId xmlns:a16="http://schemas.microsoft.com/office/drawing/2014/main" id="{4756D11E-843A-4108-BB05-CE8E849F0C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C32650-1A1E-4438-8EB0-88F6AE4DE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3CCFEB3-A0E6-490B-9CC7-1941D6F614A9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670032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water, sky, outdoor, boat&#10;&#10;Description automatically generated">
            <a:extLst>
              <a:ext uri="{FF2B5EF4-FFF2-40B4-BE49-F238E27FC236}">
                <a16:creationId xmlns:a16="http://schemas.microsoft.com/office/drawing/2014/main" id="{9D3C7FA3-61FC-4875-8279-D3B54C6723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B132EE1-487A-4B69-95D1-CA1029F76CB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63000">
                <a:srgbClr val="E8DCE0">
                  <a:alpha val="0"/>
                </a:srgbClr>
              </a:gs>
              <a:gs pos="7000">
                <a:srgbClr val="E8DCE0">
                  <a:alpha val="7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3202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tx2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3202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tx2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201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21" name="Shape 8">
            <a:extLst>
              <a:ext uri="{FF2B5EF4-FFF2-40B4-BE49-F238E27FC236}">
                <a16:creationId xmlns:a16="http://schemas.microsoft.com/office/drawing/2014/main" id="{D0689438-EDC3-428F-AB14-4791E1F80A1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4" name="Freeform 19">
            <a:extLst>
              <a:ext uri="{FF2B5EF4-FFF2-40B4-BE49-F238E27FC236}">
                <a16:creationId xmlns:a16="http://schemas.microsoft.com/office/drawing/2014/main" id="{4756D11E-843A-4108-BB05-CE8E849F0C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C32650-1A1E-4438-8EB0-88F6AE4DEE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3CCFEB3-A0E6-490B-9CC7-1941D6F614A9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916952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2E220E8D-EC0F-46D1-9AD3-E5B6C0D7ED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"/>
          <a:stretch/>
        </p:blipFill>
        <p:spPr>
          <a:xfrm>
            <a:off x="-600" y="1"/>
            <a:ext cx="12193200" cy="685799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6619FF4-9BEF-462B-A96D-E7B0927FFE92}"/>
              </a:ext>
            </a:extLst>
          </p:cNvPr>
          <p:cNvSpPr/>
          <p:nvPr userDrawn="1"/>
        </p:nvSpPr>
        <p:spPr>
          <a:xfrm>
            <a:off x="1004888" y="762000"/>
            <a:ext cx="7524000" cy="534924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lvl="0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C0CE533-6F84-4FEB-B1E0-A1C3F00499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38925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5B38886-1C37-4B08-B1E0-DA70618C40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8925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21A76FD-610B-44D4-98B5-02EF8754CE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8924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16" name="Shape 8">
            <a:extLst>
              <a:ext uri="{FF2B5EF4-FFF2-40B4-BE49-F238E27FC236}">
                <a16:creationId xmlns:a16="http://schemas.microsoft.com/office/drawing/2014/main" id="{5447C2C3-52D6-445B-9981-678811F40754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9" name="Freeform 19">
            <a:extLst>
              <a:ext uri="{FF2B5EF4-FFF2-40B4-BE49-F238E27FC236}">
                <a16:creationId xmlns:a16="http://schemas.microsoft.com/office/drawing/2014/main" id="{CA8AC822-4D5F-4E13-A802-15335B3BB7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84B1AC7-79DA-4A59-B3A4-1B2B4DDEF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CB3BBB9-B843-4B92-97C7-CFC475524D94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50834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005CA7AD-3724-4610-AD0B-806098ADE5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629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E8B48BA-0AFA-480A-8CDB-033E2F6E7394}"/>
              </a:ext>
            </a:extLst>
          </p:cNvPr>
          <p:cNvSpPr/>
          <p:nvPr userDrawn="1"/>
        </p:nvSpPr>
        <p:spPr>
          <a:xfrm>
            <a:off x="1004888" y="762000"/>
            <a:ext cx="7524000" cy="534924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lvl="0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7D9B65F-9B5C-4627-8CD8-6D02E4A446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38925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A6D3BE5-0736-4CEA-91CA-7EB25ADA18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8925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EA4ECE6C-BFA7-4671-BBF5-1CCAB0CC5B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8924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17" name="Shape 8">
            <a:extLst>
              <a:ext uri="{FF2B5EF4-FFF2-40B4-BE49-F238E27FC236}">
                <a16:creationId xmlns:a16="http://schemas.microsoft.com/office/drawing/2014/main" id="{B9ABE5F9-3CED-4915-AA9A-621AE8E3A5B6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7D8BBE7B-7414-4949-B4F9-10E37BB296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D706044-792D-4F27-BA42-9C4B709AEB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1A33ACA-677B-43FD-9B5F-7CF7C75120B9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93603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A67C365C-B5DD-4C23-A880-ABB124CC8F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E8B48BA-0AFA-480A-8CDB-033E2F6E7394}"/>
              </a:ext>
            </a:extLst>
          </p:cNvPr>
          <p:cNvSpPr/>
          <p:nvPr userDrawn="1"/>
        </p:nvSpPr>
        <p:spPr>
          <a:xfrm>
            <a:off x="1004888" y="762000"/>
            <a:ext cx="7524000" cy="534924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lvl="0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7D9B65F-9B5C-4627-8CD8-6D02E4A446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38925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A6D3BE5-0736-4CEA-91CA-7EB25ADA18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8925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EA4ECE6C-BFA7-4671-BBF5-1CCAB0CC5B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8924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17" name="Shape 8">
            <a:extLst>
              <a:ext uri="{FF2B5EF4-FFF2-40B4-BE49-F238E27FC236}">
                <a16:creationId xmlns:a16="http://schemas.microsoft.com/office/drawing/2014/main" id="{B9ABE5F9-3CED-4915-AA9A-621AE8E3A5B6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7D8BBE7B-7414-4949-B4F9-10E37BB296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D706044-792D-4F27-BA42-9C4B709AEB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1A33ACA-677B-43FD-9B5F-7CF7C75120B9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4090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200E6EA-7AA4-4C98-8E47-F5F83446E0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98477" y="1525530"/>
            <a:ext cx="5904966" cy="4101805"/>
          </a:xfrm>
          <a:solidFill>
            <a:schemeClr val="accent1"/>
          </a:solidFill>
        </p:spPr>
        <p:txBody>
          <a:bodyPr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48628" y="1516432"/>
            <a:ext cx="3551186" cy="3098109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648628" y="4817335"/>
            <a:ext cx="355118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Freeform 19">
            <a:extLst>
              <a:ext uri="{FF2B5EF4-FFF2-40B4-BE49-F238E27FC236}">
                <a16:creationId xmlns:a16="http://schemas.microsoft.com/office/drawing/2014/main" id="{63FF197E-1AE7-4604-B3DB-21B6EC50973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7346" y="371311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33620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4E949F2-DC86-49D8-B7F6-F5E464D2BA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E8B48BA-0AFA-480A-8CDB-033E2F6E7394}"/>
              </a:ext>
            </a:extLst>
          </p:cNvPr>
          <p:cNvSpPr/>
          <p:nvPr userDrawn="1"/>
        </p:nvSpPr>
        <p:spPr>
          <a:xfrm>
            <a:off x="1004888" y="762000"/>
            <a:ext cx="7524000" cy="534924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lvl="0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7D9B65F-9B5C-4627-8CD8-6D02E4A446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38925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A6D3BE5-0736-4CEA-91CA-7EB25ADA18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8925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EA4ECE6C-BFA7-4671-BBF5-1CCAB0CC5B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8924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17" name="Shape 8">
            <a:extLst>
              <a:ext uri="{FF2B5EF4-FFF2-40B4-BE49-F238E27FC236}">
                <a16:creationId xmlns:a16="http://schemas.microsoft.com/office/drawing/2014/main" id="{B9ABE5F9-3CED-4915-AA9A-621AE8E3A5B6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7D8BBE7B-7414-4949-B4F9-10E37BB296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D706044-792D-4F27-BA42-9C4B709AEB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1A33ACA-677B-43FD-9B5F-7CF7C75120B9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306950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DIVIDER 1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568FCEB1-3EF3-4E82-987D-4D27092A20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E8B48BA-0AFA-480A-8CDB-033E2F6E7394}"/>
              </a:ext>
            </a:extLst>
          </p:cNvPr>
          <p:cNvSpPr/>
          <p:nvPr userDrawn="1"/>
        </p:nvSpPr>
        <p:spPr>
          <a:xfrm>
            <a:off x="1004888" y="762000"/>
            <a:ext cx="7524000" cy="5349240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lvl="0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7D9B65F-9B5C-4627-8CD8-6D02E4A4465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38925" y="2325831"/>
            <a:ext cx="6263956" cy="2300407"/>
          </a:xfrm>
        </p:spPr>
        <p:txBody>
          <a:bodyPr anchor="t" anchorCtr="0"/>
          <a:lstStyle>
            <a:lvl1pPr algn="l"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A6D3BE5-0736-4CEA-91CA-7EB25ADA18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38925" y="5233260"/>
            <a:ext cx="6263956" cy="21600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EA4ECE6C-BFA7-4671-BBF5-1CCAB0CC5B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8924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17" name="Shape 8">
            <a:extLst>
              <a:ext uri="{FF2B5EF4-FFF2-40B4-BE49-F238E27FC236}">
                <a16:creationId xmlns:a16="http://schemas.microsoft.com/office/drawing/2014/main" id="{B9ABE5F9-3CED-4915-AA9A-621AE8E3A5B6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7D8BBE7B-7414-4949-B4F9-10E37BB296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D706044-792D-4F27-BA42-9C4B709AEB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1A33ACA-677B-43FD-9B5F-7CF7C75120B9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55026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SLIDE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B4AF6AC-47B5-4889-A9DA-091E01DE5F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629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B7C9E0A-9329-4B74-81B5-5A7A41C9A7C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rgbClr val="7213EA">
                  <a:alpha val="61000"/>
                </a:srgbClr>
              </a:gs>
              <a:gs pos="0">
                <a:srgbClr val="B497FF">
                  <a:alpha val="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8" name="Shape 8">
            <a:extLst>
              <a:ext uri="{FF2B5EF4-FFF2-40B4-BE49-F238E27FC236}">
                <a16:creationId xmlns:a16="http://schemas.microsoft.com/office/drawing/2014/main" id="{218117A8-EF1A-493C-A287-EDFA583FB96D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1" name="Freeform 19">
            <a:extLst>
              <a:ext uri="{FF2B5EF4-FFF2-40B4-BE49-F238E27FC236}">
                <a16:creationId xmlns:a16="http://schemas.microsoft.com/office/drawing/2014/main" id="{5C4D1F29-5589-485D-8D08-51CED5DD71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2DFE754-53EC-4CE3-8C68-A0585386D4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771C50C-1A37-4DB9-8F3A-7B00281526E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60276C03-A764-4163-B1D2-6E4AE24B39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34913" y="1882367"/>
            <a:ext cx="7718489" cy="3099991"/>
          </a:xfrm>
          <a:custGeom>
            <a:avLst/>
            <a:gdLst>
              <a:gd name="connsiteX0" fmla="*/ 6058533 w 7718489"/>
              <a:gd name="connsiteY0" fmla="*/ 2420175 h 3099991"/>
              <a:gd name="connsiteX1" fmla="*/ 6451222 w 7718489"/>
              <a:gd name="connsiteY1" fmla="*/ 2775917 h 3099991"/>
              <a:gd name="connsiteX2" fmla="*/ 6718997 w 7718489"/>
              <a:gd name="connsiteY2" fmla="*/ 2748296 h 3099991"/>
              <a:gd name="connsiteX3" fmla="*/ 6800455 w 7718489"/>
              <a:gd name="connsiteY3" fmla="*/ 2420175 h 3099991"/>
              <a:gd name="connsiteX4" fmla="*/ 5035465 w 7718489"/>
              <a:gd name="connsiteY4" fmla="*/ 1789620 h 3099991"/>
              <a:gd name="connsiteX5" fmla="*/ 4672157 w 7718489"/>
              <a:gd name="connsiteY5" fmla="*/ 2360005 h 3099991"/>
              <a:gd name="connsiteX6" fmla="*/ 4912310 w 7718489"/>
              <a:gd name="connsiteY6" fmla="*/ 2360005 h 3099991"/>
              <a:gd name="connsiteX7" fmla="*/ 3858453 w 7718489"/>
              <a:gd name="connsiteY7" fmla="*/ 1764813 h 3099991"/>
              <a:gd name="connsiteX8" fmla="*/ 3690962 w 7718489"/>
              <a:gd name="connsiteY8" fmla="*/ 2360005 h 3099991"/>
              <a:gd name="connsiteX9" fmla="*/ 3864435 w 7718489"/>
              <a:gd name="connsiteY9" fmla="*/ 2360005 h 3099991"/>
              <a:gd name="connsiteX10" fmla="*/ 2514654 w 7718489"/>
              <a:gd name="connsiteY10" fmla="*/ 1671568 h 3099991"/>
              <a:gd name="connsiteX11" fmla="*/ 2445687 w 7718489"/>
              <a:gd name="connsiteY11" fmla="*/ 1672623 h 3099991"/>
              <a:gd name="connsiteX12" fmla="*/ 2392026 w 7718489"/>
              <a:gd name="connsiteY12" fmla="*/ 1874949 h 3099991"/>
              <a:gd name="connsiteX13" fmla="*/ 2369859 w 7718489"/>
              <a:gd name="connsiteY13" fmla="*/ 1961686 h 3099991"/>
              <a:gd name="connsiteX14" fmla="*/ 2322884 w 7718489"/>
              <a:gd name="connsiteY14" fmla="*/ 2135863 h 3099991"/>
              <a:gd name="connsiteX15" fmla="*/ 2424575 w 7718489"/>
              <a:gd name="connsiteY15" fmla="*/ 2135863 h 3099991"/>
              <a:gd name="connsiteX16" fmla="*/ 2483161 w 7718489"/>
              <a:gd name="connsiteY16" fmla="*/ 2135863 h 3099991"/>
              <a:gd name="connsiteX17" fmla="*/ 2531895 w 7718489"/>
              <a:gd name="connsiteY17" fmla="*/ 2133575 h 3099991"/>
              <a:gd name="connsiteX18" fmla="*/ 2532423 w 7718489"/>
              <a:gd name="connsiteY18" fmla="*/ 2133575 h 3099991"/>
              <a:gd name="connsiteX19" fmla="*/ 2837145 w 7718489"/>
              <a:gd name="connsiteY19" fmla="*/ 1896765 h 3099991"/>
              <a:gd name="connsiteX20" fmla="*/ 2844358 w 7718489"/>
              <a:gd name="connsiteY20" fmla="*/ 1722589 h 3099991"/>
              <a:gd name="connsiteX21" fmla="*/ 2593473 w 7718489"/>
              <a:gd name="connsiteY21" fmla="*/ 1671568 h 3099991"/>
              <a:gd name="connsiteX22" fmla="*/ 4208566 w 7718489"/>
              <a:gd name="connsiteY22" fmla="*/ 61049 h 3099991"/>
              <a:gd name="connsiteX23" fmla="*/ 4208566 w 7718489"/>
              <a:gd name="connsiteY23" fmla="*/ 2360885 h 3099991"/>
              <a:gd name="connsiteX24" fmla="*/ 4252198 w 7718489"/>
              <a:gd name="connsiteY24" fmla="*/ 2360885 h 3099991"/>
              <a:gd name="connsiteX25" fmla="*/ 4854779 w 7718489"/>
              <a:gd name="connsiteY25" fmla="*/ 1410830 h 3099991"/>
              <a:gd name="connsiteX26" fmla="*/ 5528086 w 7718489"/>
              <a:gd name="connsiteY26" fmla="*/ 1410830 h 3099991"/>
              <a:gd name="connsiteX27" fmla="*/ 5329102 w 7718489"/>
              <a:gd name="connsiteY27" fmla="*/ 2360005 h 3099991"/>
              <a:gd name="connsiteX28" fmla="*/ 5563097 w 7718489"/>
              <a:gd name="connsiteY28" fmla="*/ 2360005 h 3099991"/>
              <a:gd name="connsiteX29" fmla="*/ 5588256 w 7718489"/>
              <a:gd name="connsiteY29" fmla="*/ 2220488 h 3099991"/>
              <a:gd name="connsiteX30" fmla="*/ 5800435 w 7718489"/>
              <a:gd name="connsiteY30" fmla="*/ 1764813 h 3099991"/>
              <a:gd name="connsiteX31" fmla="*/ 5801491 w 7718489"/>
              <a:gd name="connsiteY31" fmla="*/ 1435285 h 3099991"/>
              <a:gd name="connsiteX32" fmla="*/ 5800787 w 7718489"/>
              <a:gd name="connsiteY32" fmla="*/ 61049 h 3099991"/>
              <a:gd name="connsiteX33" fmla="*/ 2354376 w 7718489"/>
              <a:gd name="connsiteY33" fmla="*/ 61049 h 3099991"/>
              <a:gd name="connsiteX34" fmla="*/ 2354376 w 7718489"/>
              <a:gd name="connsiteY34" fmla="*/ 1408015 h 3099991"/>
              <a:gd name="connsiteX35" fmla="*/ 2671061 w 7718489"/>
              <a:gd name="connsiteY35" fmla="*/ 1408015 h 3099991"/>
              <a:gd name="connsiteX36" fmla="*/ 3184442 w 7718489"/>
              <a:gd name="connsiteY36" fmla="*/ 1525364 h 3099991"/>
              <a:gd name="connsiteX37" fmla="*/ 3238279 w 7718489"/>
              <a:gd name="connsiteY37" fmla="*/ 1902571 h 3099991"/>
              <a:gd name="connsiteX38" fmla="*/ 2851219 w 7718489"/>
              <a:gd name="connsiteY38" fmla="*/ 2360005 h 3099991"/>
              <a:gd name="connsiteX39" fmla="*/ 3273466 w 7718489"/>
              <a:gd name="connsiteY39" fmla="*/ 2360005 h 3099991"/>
              <a:gd name="connsiteX40" fmla="*/ 3546695 w 7718489"/>
              <a:gd name="connsiteY40" fmla="*/ 1408543 h 3099991"/>
              <a:gd name="connsiteX41" fmla="*/ 3944662 w 7718489"/>
              <a:gd name="connsiteY41" fmla="*/ 1408543 h 3099991"/>
              <a:gd name="connsiteX42" fmla="*/ 3944662 w 7718489"/>
              <a:gd name="connsiteY42" fmla="*/ 61049 h 3099991"/>
              <a:gd name="connsiteX43" fmla="*/ 498603 w 7718489"/>
              <a:gd name="connsiteY43" fmla="*/ 61049 h 3099991"/>
              <a:gd name="connsiteX44" fmla="*/ 498603 w 7718489"/>
              <a:gd name="connsiteY44" fmla="*/ 1410830 h 3099991"/>
              <a:gd name="connsiteX45" fmla="*/ 881440 w 7718489"/>
              <a:gd name="connsiteY45" fmla="*/ 1410830 h 3099991"/>
              <a:gd name="connsiteX46" fmla="*/ 676826 w 7718489"/>
              <a:gd name="connsiteY46" fmla="*/ 2091351 h 3099991"/>
              <a:gd name="connsiteX47" fmla="*/ 1308612 w 7718489"/>
              <a:gd name="connsiteY47" fmla="*/ 1412062 h 3099991"/>
              <a:gd name="connsiteX48" fmla="*/ 1827624 w 7718489"/>
              <a:gd name="connsiteY48" fmla="*/ 1412062 h 3099991"/>
              <a:gd name="connsiteX49" fmla="*/ 1019725 w 7718489"/>
              <a:gd name="connsiteY49" fmla="*/ 2237729 h 3099991"/>
              <a:gd name="connsiteX50" fmla="*/ 1078312 w 7718489"/>
              <a:gd name="connsiteY50" fmla="*/ 2360885 h 3099991"/>
              <a:gd name="connsiteX51" fmla="*/ 1827624 w 7718489"/>
              <a:gd name="connsiteY51" fmla="*/ 2360885 h 3099991"/>
              <a:gd name="connsiteX52" fmla="*/ 1836596 w 7718489"/>
              <a:gd name="connsiteY52" fmla="*/ 2333966 h 3099991"/>
              <a:gd name="connsiteX53" fmla="*/ 2064434 w 7718489"/>
              <a:gd name="connsiteY53" fmla="*/ 1575506 h 3099991"/>
              <a:gd name="connsiteX54" fmla="*/ 2089416 w 7718489"/>
              <a:gd name="connsiteY54" fmla="*/ 1492992 h 3099991"/>
              <a:gd name="connsiteX55" fmla="*/ 2089416 w 7718489"/>
              <a:gd name="connsiteY55" fmla="*/ 61049 h 3099991"/>
              <a:gd name="connsiteX56" fmla="*/ 6065395 w 7718489"/>
              <a:gd name="connsiteY56" fmla="*/ 60698 h 3099991"/>
              <a:gd name="connsiteX57" fmla="*/ 6065395 w 7718489"/>
              <a:gd name="connsiteY57" fmla="*/ 1503372 h 3099991"/>
              <a:gd name="connsiteX58" fmla="*/ 6770898 w 7718489"/>
              <a:gd name="connsiteY58" fmla="*/ 1317056 h 3099991"/>
              <a:gd name="connsiteX59" fmla="*/ 7344274 w 7718489"/>
              <a:gd name="connsiteY59" fmla="*/ 1514632 h 3099991"/>
              <a:gd name="connsiteX60" fmla="*/ 7383859 w 7718489"/>
              <a:gd name="connsiteY60" fmla="*/ 1868792 h 3099991"/>
              <a:gd name="connsiteX61" fmla="*/ 6906017 w 7718489"/>
              <a:gd name="connsiteY61" fmla="*/ 1868792 h 3099991"/>
              <a:gd name="connsiteX62" fmla="*/ 6667272 w 7718489"/>
              <a:gd name="connsiteY62" fmla="*/ 1642186 h 3099991"/>
              <a:gd name="connsiteX63" fmla="*/ 6084044 w 7718489"/>
              <a:gd name="connsiteY63" fmla="*/ 2210811 h 3099991"/>
              <a:gd name="connsiteX64" fmla="*/ 6065395 w 7718489"/>
              <a:gd name="connsiteY64" fmla="*/ 2305465 h 3099991"/>
              <a:gd name="connsiteX65" fmla="*/ 6065395 w 7718489"/>
              <a:gd name="connsiteY65" fmla="*/ 2360005 h 3099991"/>
              <a:gd name="connsiteX66" fmla="*/ 6453685 w 7718489"/>
              <a:gd name="connsiteY66" fmla="*/ 2360005 h 3099991"/>
              <a:gd name="connsiteX67" fmla="*/ 6519837 w 7718489"/>
              <a:gd name="connsiteY67" fmla="*/ 2094693 h 3099991"/>
              <a:gd name="connsiteX68" fmla="*/ 7322633 w 7718489"/>
              <a:gd name="connsiteY68" fmla="*/ 2094693 h 3099991"/>
              <a:gd name="connsiteX69" fmla="*/ 7257009 w 7718489"/>
              <a:gd name="connsiteY69" fmla="*/ 2360005 h 3099991"/>
              <a:gd name="connsiteX70" fmla="*/ 7658671 w 7718489"/>
              <a:gd name="connsiteY70" fmla="*/ 2360005 h 3099991"/>
              <a:gd name="connsiteX71" fmla="*/ 7657967 w 7718489"/>
              <a:gd name="connsiteY71" fmla="*/ 60698 h 3099991"/>
              <a:gd name="connsiteX72" fmla="*/ 437201 w 7718489"/>
              <a:gd name="connsiteY72" fmla="*/ 0 h 3099991"/>
              <a:gd name="connsiteX73" fmla="*/ 2151170 w 7718489"/>
              <a:gd name="connsiteY73" fmla="*/ 0 h 3099991"/>
              <a:gd name="connsiteX74" fmla="*/ 2151170 w 7718489"/>
              <a:gd name="connsiteY74" fmla="*/ 1410830 h 3099991"/>
              <a:gd name="connsiteX75" fmla="*/ 2292974 w 7718489"/>
              <a:gd name="connsiteY75" fmla="*/ 1410830 h 3099991"/>
              <a:gd name="connsiteX76" fmla="*/ 2292974 w 7718489"/>
              <a:gd name="connsiteY76" fmla="*/ 0 h 3099991"/>
              <a:gd name="connsiteX77" fmla="*/ 4006767 w 7718489"/>
              <a:gd name="connsiteY77" fmla="*/ 0 h 3099991"/>
              <a:gd name="connsiteX78" fmla="*/ 4006767 w 7718489"/>
              <a:gd name="connsiteY78" fmla="*/ 1408543 h 3099991"/>
              <a:gd name="connsiteX79" fmla="*/ 4148748 w 7718489"/>
              <a:gd name="connsiteY79" fmla="*/ 1408543 h 3099991"/>
              <a:gd name="connsiteX80" fmla="*/ 4148748 w 7718489"/>
              <a:gd name="connsiteY80" fmla="*/ 0 h 3099991"/>
              <a:gd name="connsiteX81" fmla="*/ 5862013 w 7718489"/>
              <a:gd name="connsiteY81" fmla="*/ 0 h 3099991"/>
              <a:gd name="connsiteX82" fmla="*/ 5862013 w 7718489"/>
              <a:gd name="connsiteY82" fmla="*/ 1684411 h 3099991"/>
              <a:gd name="connsiteX83" fmla="*/ 6005048 w 7718489"/>
              <a:gd name="connsiteY83" fmla="*/ 1546829 h 3099991"/>
              <a:gd name="connsiteX84" fmla="*/ 6005048 w 7718489"/>
              <a:gd name="connsiteY84" fmla="*/ 0 h 3099991"/>
              <a:gd name="connsiteX85" fmla="*/ 7718489 w 7718489"/>
              <a:gd name="connsiteY85" fmla="*/ 0 h 3099991"/>
              <a:gd name="connsiteX86" fmla="*/ 7718489 w 7718489"/>
              <a:gd name="connsiteY86" fmla="*/ 2420175 h 3099991"/>
              <a:gd name="connsiteX87" fmla="*/ 7242406 w 7718489"/>
              <a:gd name="connsiteY87" fmla="*/ 2420175 h 3099991"/>
              <a:gd name="connsiteX88" fmla="*/ 7097963 w 7718489"/>
              <a:gd name="connsiteY88" fmla="*/ 3004810 h 3099991"/>
              <a:gd name="connsiteX89" fmla="*/ 6322965 w 7718489"/>
              <a:gd name="connsiteY89" fmla="*/ 3099991 h 3099991"/>
              <a:gd name="connsiteX90" fmla="*/ 5729357 w 7718489"/>
              <a:gd name="connsiteY90" fmla="*/ 2923000 h 3099991"/>
              <a:gd name="connsiteX91" fmla="*/ 5555532 w 7718489"/>
              <a:gd name="connsiteY91" fmla="*/ 2420175 h 3099991"/>
              <a:gd name="connsiteX92" fmla="*/ 5314324 w 7718489"/>
              <a:gd name="connsiteY92" fmla="*/ 2420175 h 3099991"/>
              <a:gd name="connsiteX93" fmla="*/ 5178853 w 7718489"/>
              <a:gd name="connsiteY93" fmla="*/ 3064101 h 3099991"/>
              <a:gd name="connsiteX94" fmla="*/ 4761709 w 7718489"/>
              <a:gd name="connsiteY94" fmla="*/ 3064101 h 3099991"/>
              <a:gd name="connsiteX95" fmla="*/ 4899466 w 7718489"/>
              <a:gd name="connsiteY95" fmla="*/ 2420175 h 3099991"/>
              <a:gd name="connsiteX96" fmla="*/ 4632396 w 7718489"/>
              <a:gd name="connsiteY96" fmla="*/ 2420175 h 3099991"/>
              <a:gd name="connsiteX97" fmla="*/ 4224576 w 7718489"/>
              <a:gd name="connsiteY97" fmla="*/ 3064101 h 3099991"/>
              <a:gd name="connsiteX98" fmla="*/ 3869009 w 7718489"/>
              <a:gd name="connsiteY98" fmla="*/ 3064101 h 3099991"/>
              <a:gd name="connsiteX99" fmla="*/ 3863907 w 7718489"/>
              <a:gd name="connsiteY99" fmla="*/ 2420175 h 3099991"/>
              <a:gd name="connsiteX100" fmla="*/ 3673193 w 7718489"/>
              <a:gd name="connsiteY100" fmla="*/ 2420175 h 3099991"/>
              <a:gd name="connsiteX101" fmla="*/ 3493562 w 7718489"/>
              <a:gd name="connsiteY101" fmla="*/ 3064101 h 3099991"/>
              <a:gd name="connsiteX102" fmla="*/ 3069732 w 7718489"/>
              <a:gd name="connsiteY102" fmla="*/ 3064101 h 3099991"/>
              <a:gd name="connsiteX103" fmla="*/ 3255345 w 7718489"/>
              <a:gd name="connsiteY103" fmla="*/ 2420175 h 3099991"/>
              <a:gd name="connsiteX104" fmla="*/ 2319717 w 7718489"/>
              <a:gd name="connsiteY104" fmla="*/ 2420175 h 3099991"/>
              <a:gd name="connsiteX105" fmla="*/ 2319717 w 7718489"/>
              <a:gd name="connsiteY105" fmla="*/ 2421934 h 3099991"/>
              <a:gd name="connsiteX106" fmla="*/ 2227350 w 7718489"/>
              <a:gd name="connsiteY106" fmla="*/ 2421934 h 3099991"/>
              <a:gd name="connsiteX107" fmla="*/ 2035228 w 7718489"/>
              <a:gd name="connsiteY107" fmla="*/ 3065860 h 3099991"/>
              <a:gd name="connsiteX108" fmla="*/ 1614917 w 7718489"/>
              <a:gd name="connsiteY108" fmla="*/ 3065860 h 3099991"/>
              <a:gd name="connsiteX109" fmla="*/ 1809678 w 7718489"/>
              <a:gd name="connsiteY109" fmla="*/ 2420175 h 3099991"/>
              <a:gd name="connsiteX110" fmla="*/ 1107517 w 7718489"/>
              <a:gd name="connsiteY110" fmla="*/ 2420175 h 3099991"/>
              <a:gd name="connsiteX111" fmla="*/ 1417165 w 7718489"/>
              <a:gd name="connsiteY111" fmla="*/ 3065860 h 3099991"/>
              <a:gd name="connsiteX112" fmla="*/ 952694 w 7718489"/>
              <a:gd name="connsiteY112" fmla="*/ 3065860 h 3099991"/>
              <a:gd name="connsiteX113" fmla="*/ 633722 w 7718489"/>
              <a:gd name="connsiteY113" fmla="*/ 2420175 h 3099991"/>
              <a:gd name="connsiteX114" fmla="*/ 578126 w 7718489"/>
              <a:gd name="connsiteY114" fmla="*/ 2420175 h 3099991"/>
              <a:gd name="connsiteX115" fmla="*/ 384596 w 7718489"/>
              <a:gd name="connsiteY115" fmla="*/ 3065860 h 3099991"/>
              <a:gd name="connsiteX116" fmla="*/ 0 w 7718489"/>
              <a:gd name="connsiteY116" fmla="*/ 3065860 h 3099991"/>
              <a:gd name="connsiteX117" fmla="*/ 437201 w 7718489"/>
              <a:gd name="connsiteY117" fmla="*/ 1607879 h 30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7718489" h="3099991">
                <a:moveTo>
                  <a:pt x="6058533" y="2420175"/>
                </a:moveTo>
                <a:cubicBezTo>
                  <a:pt x="6061876" y="2669124"/>
                  <a:pt x="6221626" y="2775917"/>
                  <a:pt x="6451222" y="2775917"/>
                </a:cubicBezTo>
                <a:cubicBezTo>
                  <a:pt x="6541125" y="2774668"/>
                  <a:pt x="6630730" y="2765432"/>
                  <a:pt x="6718997" y="2748296"/>
                </a:cubicBezTo>
                <a:lnTo>
                  <a:pt x="6800455" y="2420175"/>
                </a:lnTo>
                <a:close/>
                <a:moveTo>
                  <a:pt x="5035465" y="1789620"/>
                </a:moveTo>
                <a:lnTo>
                  <a:pt x="4672157" y="2360005"/>
                </a:lnTo>
                <a:lnTo>
                  <a:pt x="4912310" y="2360005"/>
                </a:lnTo>
                <a:close/>
                <a:moveTo>
                  <a:pt x="3858453" y="1764813"/>
                </a:moveTo>
                <a:lnTo>
                  <a:pt x="3690962" y="2360005"/>
                </a:lnTo>
                <a:lnTo>
                  <a:pt x="3864435" y="2360005"/>
                </a:lnTo>
                <a:close/>
                <a:moveTo>
                  <a:pt x="2514654" y="1671568"/>
                </a:moveTo>
                <a:cubicBezTo>
                  <a:pt x="2492486" y="1671568"/>
                  <a:pt x="2469438" y="1672623"/>
                  <a:pt x="2445687" y="1672623"/>
                </a:cubicBezTo>
                <a:lnTo>
                  <a:pt x="2392026" y="1874949"/>
                </a:lnTo>
                <a:lnTo>
                  <a:pt x="2369859" y="1961686"/>
                </a:lnTo>
                <a:lnTo>
                  <a:pt x="2322884" y="2135863"/>
                </a:lnTo>
                <a:lnTo>
                  <a:pt x="2424575" y="2135863"/>
                </a:lnTo>
                <a:cubicBezTo>
                  <a:pt x="2441816" y="2135863"/>
                  <a:pt x="2459762" y="2135863"/>
                  <a:pt x="2483161" y="2135863"/>
                </a:cubicBezTo>
                <a:cubicBezTo>
                  <a:pt x="2500931" y="2135863"/>
                  <a:pt x="2516589" y="2133575"/>
                  <a:pt x="2531895" y="2133575"/>
                </a:cubicBezTo>
                <a:lnTo>
                  <a:pt x="2532423" y="2133575"/>
                </a:lnTo>
                <a:cubicBezTo>
                  <a:pt x="2728240" y="2118621"/>
                  <a:pt x="2788938" y="2043848"/>
                  <a:pt x="2837145" y="1896765"/>
                </a:cubicBezTo>
                <a:cubicBezTo>
                  <a:pt x="2865118" y="1811437"/>
                  <a:pt x="2867933" y="1755137"/>
                  <a:pt x="2844358" y="1722589"/>
                </a:cubicBezTo>
                <a:cubicBezTo>
                  <a:pt x="2813393" y="1679308"/>
                  <a:pt x="2728240" y="1671568"/>
                  <a:pt x="2593473" y="1671568"/>
                </a:cubicBezTo>
                <a:close/>
                <a:moveTo>
                  <a:pt x="4208566" y="61049"/>
                </a:moveTo>
                <a:lnTo>
                  <a:pt x="4208566" y="2360885"/>
                </a:lnTo>
                <a:lnTo>
                  <a:pt x="4252198" y="2360885"/>
                </a:lnTo>
                <a:lnTo>
                  <a:pt x="4854779" y="1410830"/>
                </a:lnTo>
                <a:lnTo>
                  <a:pt x="5528086" y="1410830"/>
                </a:lnTo>
                <a:lnTo>
                  <a:pt x="5329102" y="2360005"/>
                </a:lnTo>
                <a:lnTo>
                  <a:pt x="5563097" y="2360005"/>
                </a:lnTo>
                <a:cubicBezTo>
                  <a:pt x="5567865" y="2312924"/>
                  <a:pt x="5576275" y="2266266"/>
                  <a:pt x="5588256" y="2220488"/>
                </a:cubicBezTo>
                <a:cubicBezTo>
                  <a:pt x="5629319" y="2056480"/>
                  <a:pt x="5701348" y="1901815"/>
                  <a:pt x="5800435" y="1764813"/>
                </a:cubicBezTo>
                <a:lnTo>
                  <a:pt x="5801491" y="1435285"/>
                </a:lnTo>
                <a:lnTo>
                  <a:pt x="5800787" y="61049"/>
                </a:lnTo>
                <a:close/>
                <a:moveTo>
                  <a:pt x="2354376" y="61049"/>
                </a:moveTo>
                <a:lnTo>
                  <a:pt x="2354376" y="1408015"/>
                </a:lnTo>
                <a:lnTo>
                  <a:pt x="2671061" y="1408015"/>
                </a:lnTo>
                <a:cubicBezTo>
                  <a:pt x="2861952" y="1408015"/>
                  <a:pt x="3077121" y="1396931"/>
                  <a:pt x="3184442" y="1525364"/>
                </a:cubicBezTo>
                <a:cubicBezTo>
                  <a:pt x="3255872" y="1611749"/>
                  <a:pt x="3271706" y="1726635"/>
                  <a:pt x="3238279" y="1902571"/>
                </a:cubicBezTo>
                <a:cubicBezTo>
                  <a:pt x="3197286" y="2128297"/>
                  <a:pt x="3066389" y="2280306"/>
                  <a:pt x="2851219" y="2360005"/>
                </a:cubicBezTo>
                <a:lnTo>
                  <a:pt x="3273466" y="2360005"/>
                </a:lnTo>
                <a:lnTo>
                  <a:pt x="3546695" y="1408543"/>
                </a:lnTo>
                <a:lnTo>
                  <a:pt x="3944662" y="1408543"/>
                </a:lnTo>
                <a:lnTo>
                  <a:pt x="3944662" y="61049"/>
                </a:lnTo>
                <a:close/>
                <a:moveTo>
                  <a:pt x="498603" y="61049"/>
                </a:moveTo>
                <a:lnTo>
                  <a:pt x="498603" y="1410830"/>
                </a:lnTo>
                <a:lnTo>
                  <a:pt x="881440" y="1410830"/>
                </a:lnTo>
                <a:lnTo>
                  <a:pt x="676826" y="2091351"/>
                </a:lnTo>
                <a:lnTo>
                  <a:pt x="1308612" y="1412062"/>
                </a:lnTo>
                <a:lnTo>
                  <a:pt x="1827624" y="1412062"/>
                </a:lnTo>
                <a:lnTo>
                  <a:pt x="1019725" y="2237729"/>
                </a:lnTo>
                <a:lnTo>
                  <a:pt x="1078312" y="2360885"/>
                </a:lnTo>
                <a:lnTo>
                  <a:pt x="1827624" y="2360885"/>
                </a:lnTo>
                <a:lnTo>
                  <a:pt x="1836596" y="2333966"/>
                </a:lnTo>
                <a:lnTo>
                  <a:pt x="2064434" y="1575506"/>
                </a:lnTo>
                <a:lnTo>
                  <a:pt x="2089416" y="1492992"/>
                </a:lnTo>
                <a:lnTo>
                  <a:pt x="2089416" y="61049"/>
                </a:lnTo>
                <a:close/>
                <a:moveTo>
                  <a:pt x="6065395" y="60698"/>
                </a:moveTo>
                <a:lnTo>
                  <a:pt x="6065395" y="1503372"/>
                </a:lnTo>
                <a:cubicBezTo>
                  <a:pt x="6304668" y="1347317"/>
                  <a:pt x="6581591" y="1317056"/>
                  <a:pt x="6770898" y="1317056"/>
                </a:cubicBezTo>
                <a:cubicBezTo>
                  <a:pt x="7037265" y="1317056"/>
                  <a:pt x="7242406" y="1373884"/>
                  <a:pt x="7344274" y="1514632"/>
                </a:cubicBezTo>
                <a:cubicBezTo>
                  <a:pt x="7434353" y="1644649"/>
                  <a:pt x="7402860" y="1785926"/>
                  <a:pt x="7383859" y="1868792"/>
                </a:cubicBezTo>
                <a:lnTo>
                  <a:pt x="6906017" y="1868792"/>
                </a:lnTo>
                <a:cubicBezTo>
                  <a:pt x="6923434" y="1691096"/>
                  <a:pt x="6795705" y="1642186"/>
                  <a:pt x="6667272" y="1642186"/>
                </a:cubicBezTo>
                <a:cubicBezTo>
                  <a:pt x="6342669" y="1642186"/>
                  <a:pt x="6154418" y="1924739"/>
                  <a:pt x="6084044" y="2210811"/>
                </a:cubicBezTo>
                <a:cubicBezTo>
                  <a:pt x="6076479" y="2244239"/>
                  <a:pt x="6071376" y="2275556"/>
                  <a:pt x="6065395" y="2305465"/>
                </a:cubicBezTo>
                <a:lnTo>
                  <a:pt x="6065395" y="2360005"/>
                </a:lnTo>
                <a:lnTo>
                  <a:pt x="6453685" y="2360005"/>
                </a:lnTo>
                <a:lnTo>
                  <a:pt x="6519837" y="2094693"/>
                </a:lnTo>
                <a:lnTo>
                  <a:pt x="7322633" y="2094693"/>
                </a:lnTo>
                <a:lnTo>
                  <a:pt x="7257009" y="2360005"/>
                </a:lnTo>
                <a:lnTo>
                  <a:pt x="7658671" y="2360005"/>
                </a:lnTo>
                <a:lnTo>
                  <a:pt x="7657967" y="60698"/>
                </a:lnTo>
                <a:close/>
                <a:moveTo>
                  <a:pt x="437201" y="0"/>
                </a:moveTo>
                <a:lnTo>
                  <a:pt x="2151170" y="0"/>
                </a:lnTo>
                <a:lnTo>
                  <a:pt x="2151170" y="1410830"/>
                </a:lnTo>
                <a:lnTo>
                  <a:pt x="2292974" y="1410830"/>
                </a:lnTo>
                <a:lnTo>
                  <a:pt x="2292974" y="0"/>
                </a:lnTo>
                <a:lnTo>
                  <a:pt x="4006767" y="0"/>
                </a:lnTo>
                <a:lnTo>
                  <a:pt x="4006767" y="1408543"/>
                </a:lnTo>
                <a:lnTo>
                  <a:pt x="4148748" y="1408543"/>
                </a:lnTo>
                <a:lnTo>
                  <a:pt x="4148748" y="0"/>
                </a:lnTo>
                <a:lnTo>
                  <a:pt x="5862013" y="0"/>
                </a:lnTo>
                <a:lnTo>
                  <a:pt x="5862013" y="1684411"/>
                </a:lnTo>
                <a:cubicBezTo>
                  <a:pt x="5905345" y="1634234"/>
                  <a:pt x="5953218" y="1588174"/>
                  <a:pt x="6005048" y="1546829"/>
                </a:cubicBezTo>
                <a:lnTo>
                  <a:pt x="6005048" y="0"/>
                </a:lnTo>
                <a:lnTo>
                  <a:pt x="7718489" y="0"/>
                </a:lnTo>
                <a:lnTo>
                  <a:pt x="7718489" y="2420175"/>
                </a:lnTo>
                <a:lnTo>
                  <a:pt x="7242406" y="2420175"/>
                </a:lnTo>
                <a:lnTo>
                  <a:pt x="7097963" y="3004810"/>
                </a:lnTo>
                <a:cubicBezTo>
                  <a:pt x="6843929" y="3064980"/>
                  <a:pt x="6584019" y="3096913"/>
                  <a:pt x="6322965" y="3099991"/>
                </a:cubicBezTo>
                <a:cubicBezTo>
                  <a:pt x="6139112" y="3099991"/>
                  <a:pt x="5891218" y="3071490"/>
                  <a:pt x="5729357" y="2923000"/>
                </a:cubicBezTo>
                <a:cubicBezTo>
                  <a:pt x="5597053" y="2801076"/>
                  <a:pt x="5546031" y="2619686"/>
                  <a:pt x="5555532" y="2420175"/>
                </a:cubicBezTo>
                <a:lnTo>
                  <a:pt x="5314324" y="2420175"/>
                </a:lnTo>
                <a:lnTo>
                  <a:pt x="5178853" y="3064101"/>
                </a:lnTo>
                <a:lnTo>
                  <a:pt x="4761709" y="3064101"/>
                </a:lnTo>
                <a:lnTo>
                  <a:pt x="4899466" y="2420175"/>
                </a:lnTo>
                <a:lnTo>
                  <a:pt x="4632396" y="2420175"/>
                </a:lnTo>
                <a:lnTo>
                  <a:pt x="4224576" y="3064101"/>
                </a:lnTo>
                <a:lnTo>
                  <a:pt x="3869009" y="3064101"/>
                </a:lnTo>
                <a:lnTo>
                  <a:pt x="3863907" y="2420175"/>
                </a:lnTo>
                <a:lnTo>
                  <a:pt x="3673193" y="2420175"/>
                </a:lnTo>
                <a:lnTo>
                  <a:pt x="3493562" y="3064101"/>
                </a:lnTo>
                <a:lnTo>
                  <a:pt x="3069732" y="3064101"/>
                </a:lnTo>
                <a:lnTo>
                  <a:pt x="3255345" y="2420175"/>
                </a:lnTo>
                <a:lnTo>
                  <a:pt x="2319717" y="2420175"/>
                </a:lnTo>
                <a:lnTo>
                  <a:pt x="2319717" y="2421934"/>
                </a:lnTo>
                <a:lnTo>
                  <a:pt x="2227350" y="2421934"/>
                </a:lnTo>
                <a:lnTo>
                  <a:pt x="2035228" y="3065860"/>
                </a:lnTo>
                <a:lnTo>
                  <a:pt x="1614917" y="3065860"/>
                </a:lnTo>
                <a:lnTo>
                  <a:pt x="1809678" y="2420175"/>
                </a:lnTo>
                <a:lnTo>
                  <a:pt x="1107517" y="2420175"/>
                </a:lnTo>
                <a:lnTo>
                  <a:pt x="1417165" y="3065860"/>
                </a:lnTo>
                <a:lnTo>
                  <a:pt x="952694" y="3065860"/>
                </a:lnTo>
                <a:lnTo>
                  <a:pt x="633722" y="2420175"/>
                </a:lnTo>
                <a:lnTo>
                  <a:pt x="578126" y="2420175"/>
                </a:lnTo>
                <a:lnTo>
                  <a:pt x="384596" y="3065860"/>
                </a:lnTo>
                <a:lnTo>
                  <a:pt x="0" y="3065860"/>
                </a:lnTo>
                <a:lnTo>
                  <a:pt x="437201" y="1607879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1625893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FINAL SLIDE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C8B69055-DC25-49C8-9B89-81E75E56ED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2238565" y="1882444"/>
            <a:ext cx="7709732" cy="3096473"/>
          </a:xfrm>
          <a:custGeom>
            <a:avLst/>
            <a:gdLst>
              <a:gd name="connsiteX0" fmla="*/ 1658073 w 7709732"/>
              <a:gd name="connsiteY0" fmla="*/ 2417428 h 3096473"/>
              <a:gd name="connsiteX1" fmla="*/ 1265829 w 7709732"/>
              <a:gd name="connsiteY1" fmla="*/ 2772767 h 3096473"/>
              <a:gd name="connsiteX2" fmla="*/ 998358 w 7709732"/>
              <a:gd name="connsiteY2" fmla="*/ 2745177 h 3096473"/>
              <a:gd name="connsiteX3" fmla="*/ 916992 w 7709732"/>
              <a:gd name="connsiteY3" fmla="*/ 2417428 h 3096473"/>
              <a:gd name="connsiteX4" fmla="*/ 2679980 w 7709732"/>
              <a:gd name="connsiteY4" fmla="*/ 1787589 h 3096473"/>
              <a:gd name="connsiteX5" fmla="*/ 3042876 w 7709732"/>
              <a:gd name="connsiteY5" fmla="*/ 2357327 h 3096473"/>
              <a:gd name="connsiteX6" fmla="*/ 2802996 w 7709732"/>
              <a:gd name="connsiteY6" fmla="*/ 2357327 h 3096473"/>
              <a:gd name="connsiteX7" fmla="*/ 3855657 w 7709732"/>
              <a:gd name="connsiteY7" fmla="*/ 1762811 h 3096473"/>
              <a:gd name="connsiteX8" fmla="*/ 4022958 w 7709732"/>
              <a:gd name="connsiteY8" fmla="*/ 2357327 h 3096473"/>
              <a:gd name="connsiteX9" fmla="*/ 3849682 w 7709732"/>
              <a:gd name="connsiteY9" fmla="*/ 2357327 h 3096473"/>
              <a:gd name="connsiteX10" fmla="*/ 5197931 w 7709732"/>
              <a:gd name="connsiteY10" fmla="*/ 1669671 h 3096473"/>
              <a:gd name="connsiteX11" fmla="*/ 5266820 w 7709732"/>
              <a:gd name="connsiteY11" fmla="*/ 1670725 h 3096473"/>
              <a:gd name="connsiteX12" fmla="*/ 5320420 w 7709732"/>
              <a:gd name="connsiteY12" fmla="*/ 1872822 h 3096473"/>
              <a:gd name="connsiteX13" fmla="*/ 5342562 w 7709732"/>
              <a:gd name="connsiteY13" fmla="*/ 1959460 h 3096473"/>
              <a:gd name="connsiteX14" fmla="*/ 5389484 w 7709732"/>
              <a:gd name="connsiteY14" fmla="*/ 2133439 h 3096473"/>
              <a:gd name="connsiteX15" fmla="*/ 5287908 w 7709732"/>
              <a:gd name="connsiteY15" fmla="*/ 2133439 h 3096473"/>
              <a:gd name="connsiteX16" fmla="*/ 5229388 w 7709732"/>
              <a:gd name="connsiteY16" fmla="*/ 2133439 h 3096473"/>
              <a:gd name="connsiteX17" fmla="*/ 5180709 w 7709732"/>
              <a:gd name="connsiteY17" fmla="*/ 2131154 h 3096473"/>
              <a:gd name="connsiteX18" fmla="*/ 5180182 w 7709732"/>
              <a:gd name="connsiteY18" fmla="*/ 2131154 h 3096473"/>
              <a:gd name="connsiteX19" fmla="*/ 4875806 w 7709732"/>
              <a:gd name="connsiteY19" fmla="*/ 1894613 h 3096473"/>
              <a:gd name="connsiteX20" fmla="*/ 4868601 w 7709732"/>
              <a:gd name="connsiteY20" fmla="*/ 1720634 h 3096473"/>
              <a:gd name="connsiteX21" fmla="*/ 5119201 w 7709732"/>
              <a:gd name="connsiteY21" fmla="*/ 1669671 h 3096473"/>
              <a:gd name="connsiteX22" fmla="*/ 3505941 w 7709732"/>
              <a:gd name="connsiteY22" fmla="*/ 60980 h 3096473"/>
              <a:gd name="connsiteX23" fmla="*/ 3505941 w 7709732"/>
              <a:gd name="connsiteY23" fmla="*/ 2358205 h 3096473"/>
              <a:gd name="connsiteX24" fmla="*/ 3462358 w 7709732"/>
              <a:gd name="connsiteY24" fmla="*/ 2358205 h 3096473"/>
              <a:gd name="connsiteX25" fmla="*/ 2860461 w 7709732"/>
              <a:gd name="connsiteY25" fmla="*/ 1409229 h 3096473"/>
              <a:gd name="connsiteX26" fmla="*/ 2187918 w 7709732"/>
              <a:gd name="connsiteY26" fmla="*/ 1409229 h 3096473"/>
              <a:gd name="connsiteX27" fmla="*/ 2386676 w 7709732"/>
              <a:gd name="connsiteY27" fmla="*/ 2357327 h 3096473"/>
              <a:gd name="connsiteX28" fmla="*/ 2152947 w 7709732"/>
              <a:gd name="connsiteY28" fmla="*/ 2357327 h 3096473"/>
              <a:gd name="connsiteX29" fmla="*/ 2127816 w 7709732"/>
              <a:gd name="connsiteY29" fmla="*/ 2217968 h 3096473"/>
              <a:gd name="connsiteX30" fmla="*/ 1915878 w 7709732"/>
              <a:gd name="connsiteY30" fmla="*/ 1762811 h 3096473"/>
              <a:gd name="connsiteX31" fmla="*/ 1914824 w 7709732"/>
              <a:gd name="connsiteY31" fmla="*/ 1433657 h 3096473"/>
              <a:gd name="connsiteX32" fmla="*/ 1915527 w 7709732"/>
              <a:gd name="connsiteY32" fmla="*/ 60980 h 3096473"/>
              <a:gd name="connsiteX33" fmla="*/ 5358027 w 7709732"/>
              <a:gd name="connsiteY33" fmla="*/ 60980 h 3096473"/>
              <a:gd name="connsiteX34" fmla="*/ 5358027 w 7709732"/>
              <a:gd name="connsiteY34" fmla="*/ 1406417 h 3096473"/>
              <a:gd name="connsiteX35" fmla="*/ 5041702 w 7709732"/>
              <a:gd name="connsiteY35" fmla="*/ 1406417 h 3096473"/>
              <a:gd name="connsiteX36" fmla="*/ 4528903 w 7709732"/>
              <a:gd name="connsiteY36" fmla="*/ 1523633 h 3096473"/>
              <a:gd name="connsiteX37" fmla="*/ 4475127 w 7709732"/>
              <a:gd name="connsiteY37" fmla="*/ 1900412 h 3096473"/>
              <a:gd name="connsiteX38" fmla="*/ 4861747 w 7709732"/>
              <a:gd name="connsiteY38" fmla="*/ 2357327 h 3096473"/>
              <a:gd name="connsiteX39" fmla="*/ 4439980 w 7709732"/>
              <a:gd name="connsiteY39" fmla="*/ 2357327 h 3096473"/>
              <a:gd name="connsiteX40" fmla="*/ 4167061 w 7709732"/>
              <a:gd name="connsiteY40" fmla="*/ 1406945 h 3096473"/>
              <a:gd name="connsiteX41" fmla="*/ 3769546 w 7709732"/>
              <a:gd name="connsiteY41" fmla="*/ 1406945 h 3096473"/>
              <a:gd name="connsiteX42" fmla="*/ 3769546 w 7709732"/>
              <a:gd name="connsiteY42" fmla="*/ 60980 h 3096473"/>
              <a:gd name="connsiteX43" fmla="*/ 7211695 w 7709732"/>
              <a:gd name="connsiteY43" fmla="*/ 60980 h 3096473"/>
              <a:gd name="connsiteX44" fmla="*/ 7211695 w 7709732"/>
              <a:gd name="connsiteY44" fmla="*/ 1409229 h 3096473"/>
              <a:gd name="connsiteX45" fmla="*/ 6829292 w 7709732"/>
              <a:gd name="connsiteY45" fmla="*/ 1409229 h 3096473"/>
              <a:gd name="connsiteX46" fmla="*/ 7033674 w 7709732"/>
              <a:gd name="connsiteY46" fmla="*/ 2088977 h 3096473"/>
              <a:gd name="connsiteX47" fmla="*/ 6402604 w 7709732"/>
              <a:gd name="connsiteY47" fmla="*/ 1410459 h 3096473"/>
              <a:gd name="connsiteX48" fmla="*/ 5884182 w 7709732"/>
              <a:gd name="connsiteY48" fmla="*/ 1410459 h 3096473"/>
              <a:gd name="connsiteX49" fmla="*/ 6691164 w 7709732"/>
              <a:gd name="connsiteY49" fmla="*/ 2235190 h 3096473"/>
              <a:gd name="connsiteX50" fmla="*/ 6632643 w 7709732"/>
              <a:gd name="connsiteY50" fmla="*/ 2358205 h 3096473"/>
              <a:gd name="connsiteX51" fmla="*/ 5884182 w 7709732"/>
              <a:gd name="connsiteY51" fmla="*/ 2358205 h 3096473"/>
              <a:gd name="connsiteX52" fmla="*/ 5875219 w 7709732"/>
              <a:gd name="connsiteY52" fmla="*/ 2331318 h 3096473"/>
              <a:gd name="connsiteX53" fmla="*/ 5647641 w 7709732"/>
              <a:gd name="connsiteY53" fmla="*/ 1573718 h 3096473"/>
              <a:gd name="connsiteX54" fmla="*/ 5622686 w 7709732"/>
              <a:gd name="connsiteY54" fmla="*/ 1491298 h 3096473"/>
              <a:gd name="connsiteX55" fmla="*/ 5622686 w 7709732"/>
              <a:gd name="connsiteY55" fmla="*/ 60980 h 3096473"/>
              <a:gd name="connsiteX56" fmla="*/ 1651219 w 7709732"/>
              <a:gd name="connsiteY56" fmla="*/ 60629 h 3096473"/>
              <a:gd name="connsiteX57" fmla="*/ 1651219 w 7709732"/>
              <a:gd name="connsiteY57" fmla="*/ 1501666 h 3096473"/>
              <a:gd name="connsiteX58" fmla="*/ 946516 w 7709732"/>
              <a:gd name="connsiteY58" fmla="*/ 1315562 h 3096473"/>
              <a:gd name="connsiteX59" fmla="*/ 373791 w 7709732"/>
              <a:gd name="connsiteY59" fmla="*/ 1512914 h 3096473"/>
              <a:gd name="connsiteX60" fmla="*/ 334250 w 7709732"/>
              <a:gd name="connsiteY60" fmla="*/ 1866671 h 3096473"/>
              <a:gd name="connsiteX61" fmla="*/ 811550 w 7709732"/>
              <a:gd name="connsiteY61" fmla="*/ 1866671 h 3096473"/>
              <a:gd name="connsiteX62" fmla="*/ 1050025 w 7709732"/>
              <a:gd name="connsiteY62" fmla="*/ 1640322 h 3096473"/>
              <a:gd name="connsiteX63" fmla="*/ 1632591 w 7709732"/>
              <a:gd name="connsiteY63" fmla="*/ 2208302 h 3096473"/>
              <a:gd name="connsiteX64" fmla="*/ 1651219 w 7709732"/>
              <a:gd name="connsiteY64" fmla="*/ 2302848 h 3096473"/>
              <a:gd name="connsiteX65" fmla="*/ 1651219 w 7709732"/>
              <a:gd name="connsiteY65" fmla="*/ 2357327 h 3096473"/>
              <a:gd name="connsiteX66" fmla="*/ 1263369 w 7709732"/>
              <a:gd name="connsiteY66" fmla="*/ 2357327 h 3096473"/>
              <a:gd name="connsiteX67" fmla="*/ 1197292 w 7709732"/>
              <a:gd name="connsiteY67" fmla="*/ 2092316 h 3096473"/>
              <a:gd name="connsiteX68" fmla="*/ 395407 w 7709732"/>
              <a:gd name="connsiteY68" fmla="*/ 2092316 h 3096473"/>
              <a:gd name="connsiteX69" fmla="*/ 460957 w 7709732"/>
              <a:gd name="connsiteY69" fmla="*/ 2357327 h 3096473"/>
              <a:gd name="connsiteX70" fmla="*/ 59750 w 7709732"/>
              <a:gd name="connsiteY70" fmla="*/ 2357327 h 3096473"/>
              <a:gd name="connsiteX71" fmla="*/ 60453 w 7709732"/>
              <a:gd name="connsiteY71" fmla="*/ 60629 h 3096473"/>
              <a:gd name="connsiteX72" fmla="*/ 7273027 w 7709732"/>
              <a:gd name="connsiteY72" fmla="*/ 0 h 3096473"/>
              <a:gd name="connsiteX73" fmla="*/ 5561003 w 7709732"/>
              <a:gd name="connsiteY73" fmla="*/ 0 h 3096473"/>
              <a:gd name="connsiteX74" fmla="*/ 5561003 w 7709732"/>
              <a:gd name="connsiteY74" fmla="*/ 1409229 h 3096473"/>
              <a:gd name="connsiteX75" fmla="*/ 5419359 w 7709732"/>
              <a:gd name="connsiteY75" fmla="*/ 1409229 h 3096473"/>
              <a:gd name="connsiteX76" fmla="*/ 5419359 w 7709732"/>
              <a:gd name="connsiteY76" fmla="*/ 0 h 3096473"/>
              <a:gd name="connsiteX77" fmla="*/ 3707511 w 7709732"/>
              <a:gd name="connsiteY77" fmla="*/ 0 h 3096473"/>
              <a:gd name="connsiteX78" fmla="*/ 3707511 w 7709732"/>
              <a:gd name="connsiteY78" fmla="*/ 1406945 h 3096473"/>
              <a:gd name="connsiteX79" fmla="*/ 3565692 w 7709732"/>
              <a:gd name="connsiteY79" fmla="*/ 1406945 h 3096473"/>
              <a:gd name="connsiteX80" fmla="*/ 3565692 w 7709732"/>
              <a:gd name="connsiteY80" fmla="*/ 0 h 3096473"/>
              <a:gd name="connsiteX81" fmla="*/ 1854370 w 7709732"/>
              <a:gd name="connsiteY81" fmla="*/ 0 h 3096473"/>
              <a:gd name="connsiteX82" fmla="*/ 1854370 w 7709732"/>
              <a:gd name="connsiteY82" fmla="*/ 1682499 h 3096473"/>
              <a:gd name="connsiteX83" fmla="*/ 1711497 w 7709732"/>
              <a:gd name="connsiteY83" fmla="*/ 1545073 h 3096473"/>
              <a:gd name="connsiteX84" fmla="*/ 1711497 w 7709732"/>
              <a:gd name="connsiteY84" fmla="*/ 0 h 3096473"/>
              <a:gd name="connsiteX85" fmla="*/ 0 w 7709732"/>
              <a:gd name="connsiteY85" fmla="*/ 0 h 3096473"/>
              <a:gd name="connsiteX86" fmla="*/ 0 w 7709732"/>
              <a:gd name="connsiteY86" fmla="*/ 2417428 h 3096473"/>
              <a:gd name="connsiteX87" fmla="*/ 475543 w 7709732"/>
              <a:gd name="connsiteY87" fmla="*/ 2417428 h 3096473"/>
              <a:gd name="connsiteX88" fmla="*/ 619822 w 7709732"/>
              <a:gd name="connsiteY88" fmla="*/ 3001400 h 3096473"/>
              <a:gd name="connsiteX89" fmla="*/ 1393941 w 7709732"/>
              <a:gd name="connsiteY89" fmla="*/ 3096473 h 3096473"/>
              <a:gd name="connsiteX90" fmla="*/ 1986876 w 7709732"/>
              <a:gd name="connsiteY90" fmla="*/ 2919683 h 3096473"/>
              <a:gd name="connsiteX91" fmla="*/ 2160503 w 7709732"/>
              <a:gd name="connsiteY91" fmla="*/ 2417428 h 3096473"/>
              <a:gd name="connsiteX92" fmla="*/ 2401438 w 7709732"/>
              <a:gd name="connsiteY92" fmla="*/ 2417428 h 3096473"/>
              <a:gd name="connsiteX93" fmla="*/ 2536755 w 7709732"/>
              <a:gd name="connsiteY93" fmla="*/ 3060623 h 3096473"/>
              <a:gd name="connsiteX94" fmla="*/ 2953426 w 7709732"/>
              <a:gd name="connsiteY94" fmla="*/ 3060623 h 3096473"/>
              <a:gd name="connsiteX95" fmla="*/ 2815824 w 7709732"/>
              <a:gd name="connsiteY95" fmla="*/ 2417428 h 3096473"/>
              <a:gd name="connsiteX96" fmla="*/ 3082592 w 7709732"/>
              <a:gd name="connsiteY96" fmla="*/ 2417428 h 3096473"/>
              <a:gd name="connsiteX97" fmla="*/ 3489949 w 7709732"/>
              <a:gd name="connsiteY97" fmla="*/ 3060623 h 3096473"/>
              <a:gd name="connsiteX98" fmla="*/ 3845113 w 7709732"/>
              <a:gd name="connsiteY98" fmla="*/ 3060623 h 3096473"/>
              <a:gd name="connsiteX99" fmla="*/ 3850209 w 7709732"/>
              <a:gd name="connsiteY99" fmla="*/ 2417428 h 3096473"/>
              <a:gd name="connsiteX100" fmla="*/ 4040707 w 7709732"/>
              <a:gd name="connsiteY100" fmla="*/ 2417428 h 3096473"/>
              <a:gd name="connsiteX101" fmla="*/ 4220134 w 7709732"/>
              <a:gd name="connsiteY101" fmla="*/ 3060623 h 3096473"/>
              <a:gd name="connsiteX102" fmla="*/ 4643483 w 7709732"/>
              <a:gd name="connsiteY102" fmla="*/ 3060623 h 3096473"/>
              <a:gd name="connsiteX103" fmla="*/ 4458081 w 7709732"/>
              <a:gd name="connsiteY103" fmla="*/ 2417428 h 3096473"/>
              <a:gd name="connsiteX104" fmla="*/ 5392647 w 7709732"/>
              <a:gd name="connsiteY104" fmla="*/ 2417428 h 3096473"/>
              <a:gd name="connsiteX105" fmla="*/ 5392647 w 7709732"/>
              <a:gd name="connsiteY105" fmla="*/ 2419186 h 3096473"/>
              <a:gd name="connsiteX106" fmla="*/ 5484909 w 7709732"/>
              <a:gd name="connsiteY106" fmla="*/ 2419186 h 3096473"/>
              <a:gd name="connsiteX107" fmla="*/ 5676813 w 7709732"/>
              <a:gd name="connsiteY107" fmla="*/ 3062381 h 3096473"/>
              <a:gd name="connsiteX108" fmla="*/ 6096647 w 7709732"/>
              <a:gd name="connsiteY108" fmla="*/ 3062381 h 3096473"/>
              <a:gd name="connsiteX109" fmla="*/ 5902107 w 7709732"/>
              <a:gd name="connsiteY109" fmla="*/ 2417428 h 3096473"/>
              <a:gd name="connsiteX110" fmla="*/ 6603471 w 7709732"/>
              <a:gd name="connsiteY110" fmla="*/ 2417428 h 3096473"/>
              <a:gd name="connsiteX111" fmla="*/ 6294175 w 7709732"/>
              <a:gd name="connsiteY111" fmla="*/ 3062381 h 3096473"/>
              <a:gd name="connsiteX112" fmla="*/ 6758119 w 7709732"/>
              <a:gd name="connsiteY112" fmla="*/ 3062381 h 3096473"/>
              <a:gd name="connsiteX113" fmla="*/ 7076729 w 7709732"/>
              <a:gd name="connsiteY113" fmla="*/ 2417428 h 3096473"/>
              <a:gd name="connsiteX114" fmla="*/ 7132262 w 7709732"/>
              <a:gd name="connsiteY114" fmla="*/ 2417428 h 3096473"/>
              <a:gd name="connsiteX115" fmla="*/ 7325572 w 7709732"/>
              <a:gd name="connsiteY115" fmla="*/ 3062381 h 3096473"/>
              <a:gd name="connsiteX116" fmla="*/ 7709732 w 7709732"/>
              <a:gd name="connsiteY116" fmla="*/ 3062381 h 3096473"/>
              <a:gd name="connsiteX117" fmla="*/ 7273027 w 7709732"/>
              <a:gd name="connsiteY117" fmla="*/ 1606054 h 3096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7709732" h="3096473">
                <a:moveTo>
                  <a:pt x="1658073" y="2417428"/>
                </a:moveTo>
                <a:cubicBezTo>
                  <a:pt x="1654734" y="2666095"/>
                  <a:pt x="1495165" y="2772767"/>
                  <a:pt x="1265829" y="2772767"/>
                </a:cubicBezTo>
                <a:cubicBezTo>
                  <a:pt x="1176028" y="2771519"/>
                  <a:pt x="1086525" y="2762293"/>
                  <a:pt x="998358" y="2745177"/>
                </a:cubicBezTo>
                <a:lnTo>
                  <a:pt x="916992" y="2417428"/>
                </a:lnTo>
                <a:close/>
                <a:moveTo>
                  <a:pt x="2679980" y="1787589"/>
                </a:moveTo>
                <a:lnTo>
                  <a:pt x="3042876" y="2357327"/>
                </a:lnTo>
                <a:lnTo>
                  <a:pt x="2802996" y="2357327"/>
                </a:lnTo>
                <a:close/>
                <a:moveTo>
                  <a:pt x="3855657" y="1762811"/>
                </a:moveTo>
                <a:lnTo>
                  <a:pt x="4022958" y="2357327"/>
                </a:lnTo>
                <a:lnTo>
                  <a:pt x="3849682" y="2357327"/>
                </a:lnTo>
                <a:close/>
                <a:moveTo>
                  <a:pt x="5197931" y="1669671"/>
                </a:moveTo>
                <a:cubicBezTo>
                  <a:pt x="5220074" y="1669671"/>
                  <a:pt x="5243096" y="1670725"/>
                  <a:pt x="5266820" y="1670725"/>
                </a:cubicBezTo>
                <a:lnTo>
                  <a:pt x="5320420" y="1872822"/>
                </a:lnTo>
                <a:lnTo>
                  <a:pt x="5342562" y="1959460"/>
                </a:lnTo>
                <a:lnTo>
                  <a:pt x="5389484" y="2133439"/>
                </a:lnTo>
                <a:lnTo>
                  <a:pt x="5287908" y="2133439"/>
                </a:lnTo>
                <a:cubicBezTo>
                  <a:pt x="5270686" y="2133439"/>
                  <a:pt x="5252761" y="2133439"/>
                  <a:pt x="5229388" y="2133439"/>
                </a:cubicBezTo>
                <a:cubicBezTo>
                  <a:pt x="5211639" y="2133439"/>
                  <a:pt x="5195998" y="2131154"/>
                  <a:pt x="5180709" y="2131154"/>
                </a:cubicBezTo>
                <a:lnTo>
                  <a:pt x="5180182" y="2131154"/>
                </a:lnTo>
                <a:cubicBezTo>
                  <a:pt x="4984587" y="2116216"/>
                  <a:pt x="4923958" y="2041528"/>
                  <a:pt x="4875806" y="1894613"/>
                </a:cubicBezTo>
                <a:cubicBezTo>
                  <a:pt x="4847864" y="1809381"/>
                  <a:pt x="4845053" y="1753145"/>
                  <a:pt x="4868601" y="1720634"/>
                </a:cubicBezTo>
                <a:cubicBezTo>
                  <a:pt x="4899531" y="1677403"/>
                  <a:pt x="4984587" y="1669671"/>
                  <a:pt x="5119201" y="1669671"/>
                </a:cubicBezTo>
                <a:close/>
                <a:moveTo>
                  <a:pt x="3505941" y="60980"/>
                </a:moveTo>
                <a:lnTo>
                  <a:pt x="3505941" y="2358205"/>
                </a:lnTo>
                <a:lnTo>
                  <a:pt x="3462358" y="2358205"/>
                </a:lnTo>
                <a:lnTo>
                  <a:pt x="2860461" y="1409229"/>
                </a:lnTo>
                <a:lnTo>
                  <a:pt x="2187918" y="1409229"/>
                </a:lnTo>
                <a:lnTo>
                  <a:pt x="2386676" y="2357327"/>
                </a:lnTo>
                <a:lnTo>
                  <a:pt x="2152947" y="2357327"/>
                </a:lnTo>
                <a:cubicBezTo>
                  <a:pt x="2148184" y="2310300"/>
                  <a:pt x="2139784" y="2263694"/>
                  <a:pt x="2127816" y="2217968"/>
                </a:cubicBezTo>
                <a:cubicBezTo>
                  <a:pt x="2086799" y="2054146"/>
                  <a:pt x="2014853" y="1899656"/>
                  <a:pt x="1915878" y="1762811"/>
                </a:cubicBezTo>
                <a:lnTo>
                  <a:pt x="1914824" y="1433657"/>
                </a:lnTo>
                <a:lnTo>
                  <a:pt x="1915527" y="60980"/>
                </a:lnTo>
                <a:close/>
                <a:moveTo>
                  <a:pt x="5358027" y="60980"/>
                </a:moveTo>
                <a:lnTo>
                  <a:pt x="5358027" y="1406417"/>
                </a:lnTo>
                <a:lnTo>
                  <a:pt x="5041702" y="1406417"/>
                </a:lnTo>
                <a:cubicBezTo>
                  <a:pt x="4851028" y="1406417"/>
                  <a:pt x="4636102" y="1395346"/>
                  <a:pt x="4528903" y="1523633"/>
                </a:cubicBezTo>
                <a:cubicBezTo>
                  <a:pt x="4457554" y="1609920"/>
                  <a:pt x="4441738" y="1724676"/>
                  <a:pt x="4475127" y="1900412"/>
                </a:cubicBezTo>
                <a:cubicBezTo>
                  <a:pt x="4516074" y="2125882"/>
                  <a:pt x="4646822" y="2277718"/>
                  <a:pt x="4861747" y="2357327"/>
                </a:cubicBezTo>
                <a:lnTo>
                  <a:pt x="4439980" y="2357327"/>
                </a:lnTo>
                <a:lnTo>
                  <a:pt x="4167061" y="1406945"/>
                </a:lnTo>
                <a:lnTo>
                  <a:pt x="3769546" y="1406945"/>
                </a:lnTo>
                <a:lnTo>
                  <a:pt x="3769546" y="60980"/>
                </a:lnTo>
                <a:close/>
                <a:moveTo>
                  <a:pt x="7211695" y="60980"/>
                </a:moveTo>
                <a:lnTo>
                  <a:pt x="7211695" y="1409229"/>
                </a:lnTo>
                <a:lnTo>
                  <a:pt x="6829292" y="1409229"/>
                </a:lnTo>
                <a:lnTo>
                  <a:pt x="7033674" y="2088977"/>
                </a:lnTo>
                <a:lnTo>
                  <a:pt x="6402604" y="1410459"/>
                </a:lnTo>
                <a:lnTo>
                  <a:pt x="5884182" y="1410459"/>
                </a:lnTo>
                <a:lnTo>
                  <a:pt x="6691164" y="2235190"/>
                </a:lnTo>
                <a:lnTo>
                  <a:pt x="6632643" y="2358205"/>
                </a:lnTo>
                <a:lnTo>
                  <a:pt x="5884182" y="2358205"/>
                </a:lnTo>
                <a:lnTo>
                  <a:pt x="5875219" y="2331318"/>
                </a:lnTo>
                <a:lnTo>
                  <a:pt x="5647641" y="1573718"/>
                </a:lnTo>
                <a:lnTo>
                  <a:pt x="5622686" y="1491298"/>
                </a:lnTo>
                <a:lnTo>
                  <a:pt x="5622686" y="60980"/>
                </a:lnTo>
                <a:close/>
                <a:moveTo>
                  <a:pt x="1651219" y="60629"/>
                </a:moveTo>
                <a:lnTo>
                  <a:pt x="1651219" y="1501666"/>
                </a:lnTo>
                <a:cubicBezTo>
                  <a:pt x="1412217" y="1345788"/>
                  <a:pt x="1135608" y="1315562"/>
                  <a:pt x="946516" y="1315562"/>
                </a:cubicBezTo>
                <a:cubicBezTo>
                  <a:pt x="680451" y="1315562"/>
                  <a:pt x="475543" y="1372324"/>
                  <a:pt x="373791" y="1512914"/>
                </a:cubicBezTo>
                <a:cubicBezTo>
                  <a:pt x="283814" y="1642783"/>
                  <a:pt x="315271" y="1783899"/>
                  <a:pt x="334250" y="1866671"/>
                </a:cubicBezTo>
                <a:lnTo>
                  <a:pt x="811550" y="1866671"/>
                </a:lnTo>
                <a:cubicBezTo>
                  <a:pt x="794153" y="1689177"/>
                  <a:pt x="921738" y="1640322"/>
                  <a:pt x="1050025" y="1640322"/>
                </a:cubicBezTo>
                <a:cubicBezTo>
                  <a:pt x="1374259" y="1640322"/>
                  <a:pt x="1562296" y="1922555"/>
                  <a:pt x="1632591" y="2208302"/>
                </a:cubicBezTo>
                <a:cubicBezTo>
                  <a:pt x="1640148" y="2241692"/>
                  <a:pt x="1645244" y="2272973"/>
                  <a:pt x="1651219" y="2302848"/>
                </a:cubicBezTo>
                <a:lnTo>
                  <a:pt x="1651219" y="2357327"/>
                </a:lnTo>
                <a:lnTo>
                  <a:pt x="1263369" y="2357327"/>
                </a:lnTo>
                <a:lnTo>
                  <a:pt x="1197292" y="2092316"/>
                </a:lnTo>
                <a:lnTo>
                  <a:pt x="395407" y="2092316"/>
                </a:lnTo>
                <a:lnTo>
                  <a:pt x="460957" y="2357327"/>
                </a:lnTo>
                <a:lnTo>
                  <a:pt x="59750" y="2357327"/>
                </a:lnTo>
                <a:lnTo>
                  <a:pt x="60453" y="60629"/>
                </a:lnTo>
                <a:close/>
                <a:moveTo>
                  <a:pt x="7273027" y="0"/>
                </a:moveTo>
                <a:lnTo>
                  <a:pt x="5561003" y="0"/>
                </a:lnTo>
                <a:lnTo>
                  <a:pt x="5561003" y="1409229"/>
                </a:lnTo>
                <a:lnTo>
                  <a:pt x="5419359" y="1409229"/>
                </a:lnTo>
                <a:lnTo>
                  <a:pt x="5419359" y="0"/>
                </a:lnTo>
                <a:lnTo>
                  <a:pt x="3707511" y="0"/>
                </a:lnTo>
                <a:lnTo>
                  <a:pt x="3707511" y="1406945"/>
                </a:lnTo>
                <a:lnTo>
                  <a:pt x="3565692" y="1406945"/>
                </a:lnTo>
                <a:lnTo>
                  <a:pt x="3565692" y="0"/>
                </a:lnTo>
                <a:lnTo>
                  <a:pt x="1854370" y="0"/>
                </a:lnTo>
                <a:lnTo>
                  <a:pt x="1854370" y="1682499"/>
                </a:lnTo>
                <a:cubicBezTo>
                  <a:pt x="1811087" y="1632379"/>
                  <a:pt x="1763269" y="1586371"/>
                  <a:pt x="1711497" y="1545073"/>
                </a:cubicBezTo>
                <a:lnTo>
                  <a:pt x="1711497" y="0"/>
                </a:lnTo>
                <a:lnTo>
                  <a:pt x="0" y="0"/>
                </a:lnTo>
                <a:lnTo>
                  <a:pt x="0" y="2417428"/>
                </a:lnTo>
                <a:lnTo>
                  <a:pt x="475543" y="2417428"/>
                </a:lnTo>
                <a:lnTo>
                  <a:pt x="619822" y="3001400"/>
                </a:lnTo>
                <a:cubicBezTo>
                  <a:pt x="873568" y="3061502"/>
                  <a:pt x="1133183" y="3093398"/>
                  <a:pt x="1393941" y="3096473"/>
                </a:cubicBezTo>
                <a:cubicBezTo>
                  <a:pt x="1577585" y="3096473"/>
                  <a:pt x="1825198" y="3068004"/>
                  <a:pt x="1986876" y="2919683"/>
                </a:cubicBezTo>
                <a:cubicBezTo>
                  <a:pt x="2119029" y="2797898"/>
                  <a:pt x="2169993" y="2616714"/>
                  <a:pt x="2160503" y="2417428"/>
                </a:cubicBezTo>
                <a:lnTo>
                  <a:pt x="2401438" y="2417428"/>
                </a:lnTo>
                <a:lnTo>
                  <a:pt x="2536755" y="3060623"/>
                </a:lnTo>
                <a:lnTo>
                  <a:pt x="2953426" y="3060623"/>
                </a:lnTo>
                <a:lnTo>
                  <a:pt x="2815824" y="2417428"/>
                </a:lnTo>
                <a:lnTo>
                  <a:pt x="3082592" y="2417428"/>
                </a:lnTo>
                <a:lnTo>
                  <a:pt x="3489949" y="3060623"/>
                </a:lnTo>
                <a:lnTo>
                  <a:pt x="3845113" y="3060623"/>
                </a:lnTo>
                <a:lnTo>
                  <a:pt x="3850209" y="2417428"/>
                </a:lnTo>
                <a:lnTo>
                  <a:pt x="4040707" y="2417428"/>
                </a:lnTo>
                <a:lnTo>
                  <a:pt x="4220134" y="3060623"/>
                </a:lnTo>
                <a:lnTo>
                  <a:pt x="4643483" y="3060623"/>
                </a:lnTo>
                <a:lnTo>
                  <a:pt x="4458081" y="2417428"/>
                </a:lnTo>
                <a:lnTo>
                  <a:pt x="5392647" y="2417428"/>
                </a:lnTo>
                <a:lnTo>
                  <a:pt x="5392647" y="2419186"/>
                </a:lnTo>
                <a:lnTo>
                  <a:pt x="5484909" y="2419186"/>
                </a:lnTo>
                <a:lnTo>
                  <a:pt x="5676813" y="3062381"/>
                </a:lnTo>
                <a:lnTo>
                  <a:pt x="6096647" y="3062381"/>
                </a:lnTo>
                <a:lnTo>
                  <a:pt x="5902107" y="2417428"/>
                </a:lnTo>
                <a:lnTo>
                  <a:pt x="6603471" y="2417428"/>
                </a:lnTo>
                <a:lnTo>
                  <a:pt x="6294175" y="3062381"/>
                </a:lnTo>
                <a:lnTo>
                  <a:pt x="6758119" y="3062381"/>
                </a:lnTo>
                <a:lnTo>
                  <a:pt x="7076729" y="2417428"/>
                </a:lnTo>
                <a:lnTo>
                  <a:pt x="7132262" y="2417428"/>
                </a:lnTo>
                <a:lnTo>
                  <a:pt x="7325572" y="3062381"/>
                </a:lnTo>
                <a:lnTo>
                  <a:pt x="7709732" y="3062381"/>
                </a:lnTo>
                <a:lnTo>
                  <a:pt x="7273027" y="1606054"/>
                </a:lnTo>
                <a:close/>
              </a:path>
            </a:pathLst>
          </a:custGeom>
        </p:spPr>
      </p:pic>
      <p:sp>
        <p:nvSpPr>
          <p:cNvPr id="7" name="Shape 8">
            <a:extLst>
              <a:ext uri="{FF2B5EF4-FFF2-40B4-BE49-F238E27FC236}">
                <a16:creationId xmlns:a16="http://schemas.microsoft.com/office/drawing/2014/main" id="{FB4B4C31-D5DC-413D-ACD8-70061BC10191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9" name="Freeform 19">
            <a:extLst>
              <a:ext uri="{FF2B5EF4-FFF2-40B4-BE49-F238E27FC236}">
                <a16:creationId xmlns:a16="http://schemas.microsoft.com/office/drawing/2014/main" id="{297F94BA-E0EE-4D6A-A572-9F267DD6CE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3D1A92-E1A8-44F2-84CE-E33ED1461F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A7C6D7D-537F-4A3E-B0A0-3B8044951FC8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435109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FINAL SLIDE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F1D4965-9C6E-45A9-AEEE-E0C2874F96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F23ADA7-3E7F-4804-B221-69FE4E3E79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34912" y="1882367"/>
            <a:ext cx="7718489" cy="3099991"/>
          </a:xfrm>
          <a:custGeom>
            <a:avLst/>
            <a:gdLst>
              <a:gd name="connsiteX0" fmla="*/ 6058533 w 7718489"/>
              <a:gd name="connsiteY0" fmla="*/ 2420175 h 3099991"/>
              <a:gd name="connsiteX1" fmla="*/ 6451222 w 7718489"/>
              <a:gd name="connsiteY1" fmla="*/ 2775917 h 3099991"/>
              <a:gd name="connsiteX2" fmla="*/ 6718997 w 7718489"/>
              <a:gd name="connsiteY2" fmla="*/ 2748296 h 3099991"/>
              <a:gd name="connsiteX3" fmla="*/ 6800455 w 7718489"/>
              <a:gd name="connsiteY3" fmla="*/ 2420175 h 3099991"/>
              <a:gd name="connsiteX4" fmla="*/ 5035465 w 7718489"/>
              <a:gd name="connsiteY4" fmla="*/ 1789620 h 3099991"/>
              <a:gd name="connsiteX5" fmla="*/ 4672157 w 7718489"/>
              <a:gd name="connsiteY5" fmla="*/ 2360005 h 3099991"/>
              <a:gd name="connsiteX6" fmla="*/ 4912310 w 7718489"/>
              <a:gd name="connsiteY6" fmla="*/ 2360005 h 3099991"/>
              <a:gd name="connsiteX7" fmla="*/ 3858453 w 7718489"/>
              <a:gd name="connsiteY7" fmla="*/ 1764813 h 3099991"/>
              <a:gd name="connsiteX8" fmla="*/ 3690962 w 7718489"/>
              <a:gd name="connsiteY8" fmla="*/ 2360005 h 3099991"/>
              <a:gd name="connsiteX9" fmla="*/ 3864435 w 7718489"/>
              <a:gd name="connsiteY9" fmla="*/ 2360005 h 3099991"/>
              <a:gd name="connsiteX10" fmla="*/ 2514654 w 7718489"/>
              <a:gd name="connsiteY10" fmla="*/ 1671568 h 3099991"/>
              <a:gd name="connsiteX11" fmla="*/ 2445687 w 7718489"/>
              <a:gd name="connsiteY11" fmla="*/ 1672623 h 3099991"/>
              <a:gd name="connsiteX12" fmla="*/ 2392026 w 7718489"/>
              <a:gd name="connsiteY12" fmla="*/ 1874949 h 3099991"/>
              <a:gd name="connsiteX13" fmla="*/ 2369859 w 7718489"/>
              <a:gd name="connsiteY13" fmla="*/ 1961686 h 3099991"/>
              <a:gd name="connsiteX14" fmla="*/ 2322884 w 7718489"/>
              <a:gd name="connsiteY14" fmla="*/ 2135863 h 3099991"/>
              <a:gd name="connsiteX15" fmla="*/ 2424575 w 7718489"/>
              <a:gd name="connsiteY15" fmla="*/ 2135863 h 3099991"/>
              <a:gd name="connsiteX16" fmla="*/ 2483161 w 7718489"/>
              <a:gd name="connsiteY16" fmla="*/ 2135863 h 3099991"/>
              <a:gd name="connsiteX17" fmla="*/ 2531895 w 7718489"/>
              <a:gd name="connsiteY17" fmla="*/ 2133575 h 3099991"/>
              <a:gd name="connsiteX18" fmla="*/ 2532423 w 7718489"/>
              <a:gd name="connsiteY18" fmla="*/ 2133575 h 3099991"/>
              <a:gd name="connsiteX19" fmla="*/ 2837145 w 7718489"/>
              <a:gd name="connsiteY19" fmla="*/ 1896765 h 3099991"/>
              <a:gd name="connsiteX20" fmla="*/ 2844358 w 7718489"/>
              <a:gd name="connsiteY20" fmla="*/ 1722589 h 3099991"/>
              <a:gd name="connsiteX21" fmla="*/ 2593473 w 7718489"/>
              <a:gd name="connsiteY21" fmla="*/ 1671568 h 3099991"/>
              <a:gd name="connsiteX22" fmla="*/ 4208566 w 7718489"/>
              <a:gd name="connsiteY22" fmla="*/ 61049 h 3099991"/>
              <a:gd name="connsiteX23" fmla="*/ 4208566 w 7718489"/>
              <a:gd name="connsiteY23" fmla="*/ 2360885 h 3099991"/>
              <a:gd name="connsiteX24" fmla="*/ 4252198 w 7718489"/>
              <a:gd name="connsiteY24" fmla="*/ 2360885 h 3099991"/>
              <a:gd name="connsiteX25" fmla="*/ 4854779 w 7718489"/>
              <a:gd name="connsiteY25" fmla="*/ 1410830 h 3099991"/>
              <a:gd name="connsiteX26" fmla="*/ 5528086 w 7718489"/>
              <a:gd name="connsiteY26" fmla="*/ 1410830 h 3099991"/>
              <a:gd name="connsiteX27" fmla="*/ 5329102 w 7718489"/>
              <a:gd name="connsiteY27" fmla="*/ 2360005 h 3099991"/>
              <a:gd name="connsiteX28" fmla="*/ 5563097 w 7718489"/>
              <a:gd name="connsiteY28" fmla="*/ 2360005 h 3099991"/>
              <a:gd name="connsiteX29" fmla="*/ 5588256 w 7718489"/>
              <a:gd name="connsiteY29" fmla="*/ 2220488 h 3099991"/>
              <a:gd name="connsiteX30" fmla="*/ 5800435 w 7718489"/>
              <a:gd name="connsiteY30" fmla="*/ 1764813 h 3099991"/>
              <a:gd name="connsiteX31" fmla="*/ 5801491 w 7718489"/>
              <a:gd name="connsiteY31" fmla="*/ 1435285 h 3099991"/>
              <a:gd name="connsiteX32" fmla="*/ 5800787 w 7718489"/>
              <a:gd name="connsiteY32" fmla="*/ 61049 h 3099991"/>
              <a:gd name="connsiteX33" fmla="*/ 2354377 w 7718489"/>
              <a:gd name="connsiteY33" fmla="*/ 61049 h 3099991"/>
              <a:gd name="connsiteX34" fmla="*/ 2354377 w 7718489"/>
              <a:gd name="connsiteY34" fmla="*/ 1408015 h 3099991"/>
              <a:gd name="connsiteX35" fmla="*/ 2671061 w 7718489"/>
              <a:gd name="connsiteY35" fmla="*/ 1408015 h 3099991"/>
              <a:gd name="connsiteX36" fmla="*/ 3184442 w 7718489"/>
              <a:gd name="connsiteY36" fmla="*/ 1525364 h 3099991"/>
              <a:gd name="connsiteX37" fmla="*/ 3238279 w 7718489"/>
              <a:gd name="connsiteY37" fmla="*/ 1902571 h 3099991"/>
              <a:gd name="connsiteX38" fmla="*/ 2851219 w 7718489"/>
              <a:gd name="connsiteY38" fmla="*/ 2360005 h 3099991"/>
              <a:gd name="connsiteX39" fmla="*/ 3273466 w 7718489"/>
              <a:gd name="connsiteY39" fmla="*/ 2360005 h 3099991"/>
              <a:gd name="connsiteX40" fmla="*/ 3546695 w 7718489"/>
              <a:gd name="connsiteY40" fmla="*/ 1408543 h 3099991"/>
              <a:gd name="connsiteX41" fmla="*/ 3944662 w 7718489"/>
              <a:gd name="connsiteY41" fmla="*/ 1408543 h 3099991"/>
              <a:gd name="connsiteX42" fmla="*/ 3944662 w 7718489"/>
              <a:gd name="connsiteY42" fmla="*/ 61049 h 3099991"/>
              <a:gd name="connsiteX43" fmla="*/ 498603 w 7718489"/>
              <a:gd name="connsiteY43" fmla="*/ 61049 h 3099991"/>
              <a:gd name="connsiteX44" fmla="*/ 498603 w 7718489"/>
              <a:gd name="connsiteY44" fmla="*/ 1410830 h 3099991"/>
              <a:gd name="connsiteX45" fmla="*/ 881441 w 7718489"/>
              <a:gd name="connsiteY45" fmla="*/ 1410830 h 3099991"/>
              <a:gd name="connsiteX46" fmla="*/ 676826 w 7718489"/>
              <a:gd name="connsiteY46" fmla="*/ 2091351 h 3099991"/>
              <a:gd name="connsiteX47" fmla="*/ 1308612 w 7718489"/>
              <a:gd name="connsiteY47" fmla="*/ 1412062 h 3099991"/>
              <a:gd name="connsiteX48" fmla="*/ 1827624 w 7718489"/>
              <a:gd name="connsiteY48" fmla="*/ 1412062 h 3099991"/>
              <a:gd name="connsiteX49" fmla="*/ 1019725 w 7718489"/>
              <a:gd name="connsiteY49" fmla="*/ 2237729 h 3099991"/>
              <a:gd name="connsiteX50" fmla="*/ 1078312 w 7718489"/>
              <a:gd name="connsiteY50" fmla="*/ 2360885 h 3099991"/>
              <a:gd name="connsiteX51" fmla="*/ 1827624 w 7718489"/>
              <a:gd name="connsiteY51" fmla="*/ 2360885 h 3099991"/>
              <a:gd name="connsiteX52" fmla="*/ 1836596 w 7718489"/>
              <a:gd name="connsiteY52" fmla="*/ 2333966 h 3099991"/>
              <a:gd name="connsiteX53" fmla="*/ 2064435 w 7718489"/>
              <a:gd name="connsiteY53" fmla="*/ 1575506 h 3099991"/>
              <a:gd name="connsiteX54" fmla="*/ 2089417 w 7718489"/>
              <a:gd name="connsiteY54" fmla="*/ 1492992 h 3099991"/>
              <a:gd name="connsiteX55" fmla="*/ 2089417 w 7718489"/>
              <a:gd name="connsiteY55" fmla="*/ 61049 h 3099991"/>
              <a:gd name="connsiteX56" fmla="*/ 6065395 w 7718489"/>
              <a:gd name="connsiteY56" fmla="*/ 60698 h 3099991"/>
              <a:gd name="connsiteX57" fmla="*/ 6065395 w 7718489"/>
              <a:gd name="connsiteY57" fmla="*/ 1503372 h 3099991"/>
              <a:gd name="connsiteX58" fmla="*/ 6770898 w 7718489"/>
              <a:gd name="connsiteY58" fmla="*/ 1317056 h 3099991"/>
              <a:gd name="connsiteX59" fmla="*/ 7344274 w 7718489"/>
              <a:gd name="connsiteY59" fmla="*/ 1514632 h 3099991"/>
              <a:gd name="connsiteX60" fmla="*/ 7383859 w 7718489"/>
              <a:gd name="connsiteY60" fmla="*/ 1868792 h 3099991"/>
              <a:gd name="connsiteX61" fmla="*/ 6906017 w 7718489"/>
              <a:gd name="connsiteY61" fmla="*/ 1868792 h 3099991"/>
              <a:gd name="connsiteX62" fmla="*/ 6667272 w 7718489"/>
              <a:gd name="connsiteY62" fmla="*/ 1642186 h 3099991"/>
              <a:gd name="connsiteX63" fmla="*/ 6084044 w 7718489"/>
              <a:gd name="connsiteY63" fmla="*/ 2210811 h 3099991"/>
              <a:gd name="connsiteX64" fmla="*/ 6065395 w 7718489"/>
              <a:gd name="connsiteY64" fmla="*/ 2305465 h 3099991"/>
              <a:gd name="connsiteX65" fmla="*/ 6065395 w 7718489"/>
              <a:gd name="connsiteY65" fmla="*/ 2360005 h 3099991"/>
              <a:gd name="connsiteX66" fmla="*/ 6453685 w 7718489"/>
              <a:gd name="connsiteY66" fmla="*/ 2360005 h 3099991"/>
              <a:gd name="connsiteX67" fmla="*/ 6519837 w 7718489"/>
              <a:gd name="connsiteY67" fmla="*/ 2094693 h 3099991"/>
              <a:gd name="connsiteX68" fmla="*/ 7322633 w 7718489"/>
              <a:gd name="connsiteY68" fmla="*/ 2094693 h 3099991"/>
              <a:gd name="connsiteX69" fmla="*/ 7257009 w 7718489"/>
              <a:gd name="connsiteY69" fmla="*/ 2360005 h 3099991"/>
              <a:gd name="connsiteX70" fmla="*/ 7658671 w 7718489"/>
              <a:gd name="connsiteY70" fmla="*/ 2360005 h 3099991"/>
              <a:gd name="connsiteX71" fmla="*/ 7657967 w 7718489"/>
              <a:gd name="connsiteY71" fmla="*/ 60698 h 3099991"/>
              <a:gd name="connsiteX72" fmla="*/ 437201 w 7718489"/>
              <a:gd name="connsiteY72" fmla="*/ 0 h 3099991"/>
              <a:gd name="connsiteX73" fmla="*/ 2151170 w 7718489"/>
              <a:gd name="connsiteY73" fmla="*/ 0 h 3099991"/>
              <a:gd name="connsiteX74" fmla="*/ 2151170 w 7718489"/>
              <a:gd name="connsiteY74" fmla="*/ 1410830 h 3099991"/>
              <a:gd name="connsiteX75" fmla="*/ 2292974 w 7718489"/>
              <a:gd name="connsiteY75" fmla="*/ 1410830 h 3099991"/>
              <a:gd name="connsiteX76" fmla="*/ 2292974 w 7718489"/>
              <a:gd name="connsiteY76" fmla="*/ 0 h 3099991"/>
              <a:gd name="connsiteX77" fmla="*/ 4006767 w 7718489"/>
              <a:gd name="connsiteY77" fmla="*/ 0 h 3099991"/>
              <a:gd name="connsiteX78" fmla="*/ 4006767 w 7718489"/>
              <a:gd name="connsiteY78" fmla="*/ 1408543 h 3099991"/>
              <a:gd name="connsiteX79" fmla="*/ 4148748 w 7718489"/>
              <a:gd name="connsiteY79" fmla="*/ 1408543 h 3099991"/>
              <a:gd name="connsiteX80" fmla="*/ 4148748 w 7718489"/>
              <a:gd name="connsiteY80" fmla="*/ 0 h 3099991"/>
              <a:gd name="connsiteX81" fmla="*/ 5862013 w 7718489"/>
              <a:gd name="connsiteY81" fmla="*/ 0 h 3099991"/>
              <a:gd name="connsiteX82" fmla="*/ 5862013 w 7718489"/>
              <a:gd name="connsiteY82" fmla="*/ 1684411 h 3099991"/>
              <a:gd name="connsiteX83" fmla="*/ 6005048 w 7718489"/>
              <a:gd name="connsiteY83" fmla="*/ 1546829 h 3099991"/>
              <a:gd name="connsiteX84" fmla="*/ 6005048 w 7718489"/>
              <a:gd name="connsiteY84" fmla="*/ 0 h 3099991"/>
              <a:gd name="connsiteX85" fmla="*/ 7718489 w 7718489"/>
              <a:gd name="connsiteY85" fmla="*/ 0 h 3099991"/>
              <a:gd name="connsiteX86" fmla="*/ 7718489 w 7718489"/>
              <a:gd name="connsiteY86" fmla="*/ 2420175 h 3099991"/>
              <a:gd name="connsiteX87" fmla="*/ 7242406 w 7718489"/>
              <a:gd name="connsiteY87" fmla="*/ 2420175 h 3099991"/>
              <a:gd name="connsiteX88" fmla="*/ 7097963 w 7718489"/>
              <a:gd name="connsiteY88" fmla="*/ 3004810 h 3099991"/>
              <a:gd name="connsiteX89" fmla="*/ 6322965 w 7718489"/>
              <a:gd name="connsiteY89" fmla="*/ 3099991 h 3099991"/>
              <a:gd name="connsiteX90" fmla="*/ 5729357 w 7718489"/>
              <a:gd name="connsiteY90" fmla="*/ 2923000 h 3099991"/>
              <a:gd name="connsiteX91" fmla="*/ 5555532 w 7718489"/>
              <a:gd name="connsiteY91" fmla="*/ 2420175 h 3099991"/>
              <a:gd name="connsiteX92" fmla="*/ 5314324 w 7718489"/>
              <a:gd name="connsiteY92" fmla="*/ 2420175 h 3099991"/>
              <a:gd name="connsiteX93" fmla="*/ 5178853 w 7718489"/>
              <a:gd name="connsiteY93" fmla="*/ 3064101 h 3099991"/>
              <a:gd name="connsiteX94" fmla="*/ 4761709 w 7718489"/>
              <a:gd name="connsiteY94" fmla="*/ 3064101 h 3099991"/>
              <a:gd name="connsiteX95" fmla="*/ 4899466 w 7718489"/>
              <a:gd name="connsiteY95" fmla="*/ 2420175 h 3099991"/>
              <a:gd name="connsiteX96" fmla="*/ 4632396 w 7718489"/>
              <a:gd name="connsiteY96" fmla="*/ 2420175 h 3099991"/>
              <a:gd name="connsiteX97" fmla="*/ 4224576 w 7718489"/>
              <a:gd name="connsiteY97" fmla="*/ 3064101 h 3099991"/>
              <a:gd name="connsiteX98" fmla="*/ 3869009 w 7718489"/>
              <a:gd name="connsiteY98" fmla="*/ 3064101 h 3099991"/>
              <a:gd name="connsiteX99" fmla="*/ 3863907 w 7718489"/>
              <a:gd name="connsiteY99" fmla="*/ 2420175 h 3099991"/>
              <a:gd name="connsiteX100" fmla="*/ 3673193 w 7718489"/>
              <a:gd name="connsiteY100" fmla="*/ 2420175 h 3099991"/>
              <a:gd name="connsiteX101" fmla="*/ 3493562 w 7718489"/>
              <a:gd name="connsiteY101" fmla="*/ 3064101 h 3099991"/>
              <a:gd name="connsiteX102" fmla="*/ 3069732 w 7718489"/>
              <a:gd name="connsiteY102" fmla="*/ 3064101 h 3099991"/>
              <a:gd name="connsiteX103" fmla="*/ 3255345 w 7718489"/>
              <a:gd name="connsiteY103" fmla="*/ 2420175 h 3099991"/>
              <a:gd name="connsiteX104" fmla="*/ 2319717 w 7718489"/>
              <a:gd name="connsiteY104" fmla="*/ 2420175 h 3099991"/>
              <a:gd name="connsiteX105" fmla="*/ 2319717 w 7718489"/>
              <a:gd name="connsiteY105" fmla="*/ 2421934 h 3099991"/>
              <a:gd name="connsiteX106" fmla="*/ 2227350 w 7718489"/>
              <a:gd name="connsiteY106" fmla="*/ 2421934 h 3099991"/>
              <a:gd name="connsiteX107" fmla="*/ 2035229 w 7718489"/>
              <a:gd name="connsiteY107" fmla="*/ 3065860 h 3099991"/>
              <a:gd name="connsiteX108" fmla="*/ 1614917 w 7718489"/>
              <a:gd name="connsiteY108" fmla="*/ 3065860 h 3099991"/>
              <a:gd name="connsiteX109" fmla="*/ 1809678 w 7718489"/>
              <a:gd name="connsiteY109" fmla="*/ 2420175 h 3099991"/>
              <a:gd name="connsiteX110" fmla="*/ 1107517 w 7718489"/>
              <a:gd name="connsiteY110" fmla="*/ 2420175 h 3099991"/>
              <a:gd name="connsiteX111" fmla="*/ 1417165 w 7718489"/>
              <a:gd name="connsiteY111" fmla="*/ 3065860 h 3099991"/>
              <a:gd name="connsiteX112" fmla="*/ 952694 w 7718489"/>
              <a:gd name="connsiteY112" fmla="*/ 3065860 h 3099991"/>
              <a:gd name="connsiteX113" fmla="*/ 633723 w 7718489"/>
              <a:gd name="connsiteY113" fmla="*/ 2420175 h 3099991"/>
              <a:gd name="connsiteX114" fmla="*/ 578126 w 7718489"/>
              <a:gd name="connsiteY114" fmla="*/ 2420175 h 3099991"/>
              <a:gd name="connsiteX115" fmla="*/ 384596 w 7718489"/>
              <a:gd name="connsiteY115" fmla="*/ 3065860 h 3099991"/>
              <a:gd name="connsiteX116" fmla="*/ 0 w 7718489"/>
              <a:gd name="connsiteY116" fmla="*/ 3065860 h 3099991"/>
              <a:gd name="connsiteX117" fmla="*/ 437201 w 7718489"/>
              <a:gd name="connsiteY117" fmla="*/ 1607879 h 30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7718489" h="3099991">
                <a:moveTo>
                  <a:pt x="6058533" y="2420175"/>
                </a:moveTo>
                <a:cubicBezTo>
                  <a:pt x="6061876" y="2669124"/>
                  <a:pt x="6221626" y="2775917"/>
                  <a:pt x="6451222" y="2775917"/>
                </a:cubicBezTo>
                <a:cubicBezTo>
                  <a:pt x="6541125" y="2774668"/>
                  <a:pt x="6630730" y="2765432"/>
                  <a:pt x="6718997" y="2748296"/>
                </a:cubicBezTo>
                <a:lnTo>
                  <a:pt x="6800455" y="2420175"/>
                </a:lnTo>
                <a:close/>
                <a:moveTo>
                  <a:pt x="5035465" y="1789620"/>
                </a:moveTo>
                <a:lnTo>
                  <a:pt x="4672157" y="2360005"/>
                </a:lnTo>
                <a:lnTo>
                  <a:pt x="4912310" y="2360005"/>
                </a:lnTo>
                <a:close/>
                <a:moveTo>
                  <a:pt x="3858453" y="1764813"/>
                </a:moveTo>
                <a:lnTo>
                  <a:pt x="3690962" y="2360005"/>
                </a:lnTo>
                <a:lnTo>
                  <a:pt x="3864435" y="2360005"/>
                </a:lnTo>
                <a:close/>
                <a:moveTo>
                  <a:pt x="2514654" y="1671568"/>
                </a:moveTo>
                <a:cubicBezTo>
                  <a:pt x="2492486" y="1671568"/>
                  <a:pt x="2469438" y="1672623"/>
                  <a:pt x="2445687" y="1672623"/>
                </a:cubicBezTo>
                <a:lnTo>
                  <a:pt x="2392026" y="1874949"/>
                </a:lnTo>
                <a:lnTo>
                  <a:pt x="2369859" y="1961686"/>
                </a:lnTo>
                <a:lnTo>
                  <a:pt x="2322884" y="2135863"/>
                </a:lnTo>
                <a:lnTo>
                  <a:pt x="2424575" y="2135863"/>
                </a:lnTo>
                <a:cubicBezTo>
                  <a:pt x="2441816" y="2135863"/>
                  <a:pt x="2459762" y="2135863"/>
                  <a:pt x="2483161" y="2135863"/>
                </a:cubicBezTo>
                <a:cubicBezTo>
                  <a:pt x="2500931" y="2135863"/>
                  <a:pt x="2516589" y="2133575"/>
                  <a:pt x="2531895" y="2133575"/>
                </a:cubicBezTo>
                <a:lnTo>
                  <a:pt x="2532423" y="2133575"/>
                </a:lnTo>
                <a:cubicBezTo>
                  <a:pt x="2728240" y="2118621"/>
                  <a:pt x="2788938" y="2043848"/>
                  <a:pt x="2837145" y="1896765"/>
                </a:cubicBezTo>
                <a:cubicBezTo>
                  <a:pt x="2865118" y="1811437"/>
                  <a:pt x="2867933" y="1755137"/>
                  <a:pt x="2844358" y="1722589"/>
                </a:cubicBezTo>
                <a:cubicBezTo>
                  <a:pt x="2813393" y="1679308"/>
                  <a:pt x="2728240" y="1671568"/>
                  <a:pt x="2593473" y="1671568"/>
                </a:cubicBezTo>
                <a:close/>
                <a:moveTo>
                  <a:pt x="4208566" y="61049"/>
                </a:moveTo>
                <a:lnTo>
                  <a:pt x="4208566" y="2360885"/>
                </a:lnTo>
                <a:lnTo>
                  <a:pt x="4252198" y="2360885"/>
                </a:lnTo>
                <a:lnTo>
                  <a:pt x="4854779" y="1410830"/>
                </a:lnTo>
                <a:lnTo>
                  <a:pt x="5528086" y="1410830"/>
                </a:lnTo>
                <a:lnTo>
                  <a:pt x="5329102" y="2360005"/>
                </a:lnTo>
                <a:lnTo>
                  <a:pt x="5563097" y="2360005"/>
                </a:lnTo>
                <a:cubicBezTo>
                  <a:pt x="5567865" y="2312924"/>
                  <a:pt x="5576275" y="2266266"/>
                  <a:pt x="5588256" y="2220488"/>
                </a:cubicBezTo>
                <a:cubicBezTo>
                  <a:pt x="5629319" y="2056480"/>
                  <a:pt x="5701348" y="1901815"/>
                  <a:pt x="5800435" y="1764813"/>
                </a:cubicBezTo>
                <a:lnTo>
                  <a:pt x="5801491" y="1435285"/>
                </a:lnTo>
                <a:lnTo>
                  <a:pt x="5800787" y="61049"/>
                </a:lnTo>
                <a:close/>
                <a:moveTo>
                  <a:pt x="2354377" y="61049"/>
                </a:moveTo>
                <a:lnTo>
                  <a:pt x="2354377" y="1408015"/>
                </a:lnTo>
                <a:lnTo>
                  <a:pt x="2671061" y="1408015"/>
                </a:lnTo>
                <a:cubicBezTo>
                  <a:pt x="2861952" y="1408015"/>
                  <a:pt x="3077121" y="1396931"/>
                  <a:pt x="3184442" y="1525364"/>
                </a:cubicBezTo>
                <a:cubicBezTo>
                  <a:pt x="3255872" y="1611749"/>
                  <a:pt x="3271706" y="1726635"/>
                  <a:pt x="3238279" y="1902571"/>
                </a:cubicBezTo>
                <a:cubicBezTo>
                  <a:pt x="3197286" y="2128297"/>
                  <a:pt x="3066389" y="2280306"/>
                  <a:pt x="2851219" y="2360005"/>
                </a:cubicBezTo>
                <a:lnTo>
                  <a:pt x="3273466" y="2360005"/>
                </a:lnTo>
                <a:lnTo>
                  <a:pt x="3546695" y="1408543"/>
                </a:lnTo>
                <a:lnTo>
                  <a:pt x="3944662" y="1408543"/>
                </a:lnTo>
                <a:lnTo>
                  <a:pt x="3944662" y="61049"/>
                </a:lnTo>
                <a:close/>
                <a:moveTo>
                  <a:pt x="498603" y="61049"/>
                </a:moveTo>
                <a:lnTo>
                  <a:pt x="498603" y="1410830"/>
                </a:lnTo>
                <a:lnTo>
                  <a:pt x="881441" y="1410830"/>
                </a:lnTo>
                <a:lnTo>
                  <a:pt x="676826" y="2091351"/>
                </a:lnTo>
                <a:lnTo>
                  <a:pt x="1308612" y="1412062"/>
                </a:lnTo>
                <a:lnTo>
                  <a:pt x="1827624" y="1412062"/>
                </a:lnTo>
                <a:lnTo>
                  <a:pt x="1019725" y="2237729"/>
                </a:lnTo>
                <a:lnTo>
                  <a:pt x="1078312" y="2360885"/>
                </a:lnTo>
                <a:lnTo>
                  <a:pt x="1827624" y="2360885"/>
                </a:lnTo>
                <a:lnTo>
                  <a:pt x="1836596" y="2333966"/>
                </a:lnTo>
                <a:lnTo>
                  <a:pt x="2064435" y="1575506"/>
                </a:lnTo>
                <a:lnTo>
                  <a:pt x="2089417" y="1492992"/>
                </a:lnTo>
                <a:lnTo>
                  <a:pt x="2089417" y="61049"/>
                </a:lnTo>
                <a:close/>
                <a:moveTo>
                  <a:pt x="6065395" y="60698"/>
                </a:moveTo>
                <a:lnTo>
                  <a:pt x="6065395" y="1503372"/>
                </a:lnTo>
                <a:cubicBezTo>
                  <a:pt x="6304668" y="1347317"/>
                  <a:pt x="6581591" y="1317056"/>
                  <a:pt x="6770898" y="1317056"/>
                </a:cubicBezTo>
                <a:cubicBezTo>
                  <a:pt x="7037265" y="1317056"/>
                  <a:pt x="7242406" y="1373884"/>
                  <a:pt x="7344274" y="1514632"/>
                </a:cubicBezTo>
                <a:cubicBezTo>
                  <a:pt x="7434353" y="1644649"/>
                  <a:pt x="7402860" y="1785926"/>
                  <a:pt x="7383859" y="1868792"/>
                </a:cubicBezTo>
                <a:lnTo>
                  <a:pt x="6906017" y="1868792"/>
                </a:lnTo>
                <a:cubicBezTo>
                  <a:pt x="6923434" y="1691096"/>
                  <a:pt x="6795705" y="1642186"/>
                  <a:pt x="6667272" y="1642186"/>
                </a:cubicBezTo>
                <a:cubicBezTo>
                  <a:pt x="6342669" y="1642186"/>
                  <a:pt x="6154418" y="1924739"/>
                  <a:pt x="6084044" y="2210811"/>
                </a:cubicBezTo>
                <a:cubicBezTo>
                  <a:pt x="6076479" y="2244239"/>
                  <a:pt x="6071376" y="2275556"/>
                  <a:pt x="6065395" y="2305465"/>
                </a:cubicBezTo>
                <a:lnTo>
                  <a:pt x="6065395" y="2360005"/>
                </a:lnTo>
                <a:lnTo>
                  <a:pt x="6453685" y="2360005"/>
                </a:lnTo>
                <a:lnTo>
                  <a:pt x="6519837" y="2094693"/>
                </a:lnTo>
                <a:lnTo>
                  <a:pt x="7322633" y="2094693"/>
                </a:lnTo>
                <a:lnTo>
                  <a:pt x="7257009" y="2360005"/>
                </a:lnTo>
                <a:lnTo>
                  <a:pt x="7658671" y="2360005"/>
                </a:lnTo>
                <a:lnTo>
                  <a:pt x="7657967" y="60698"/>
                </a:lnTo>
                <a:close/>
                <a:moveTo>
                  <a:pt x="437201" y="0"/>
                </a:moveTo>
                <a:lnTo>
                  <a:pt x="2151170" y="0"/>
                </a:lnTo>
                <a:lnTo>
                  <a:pt x="2151170" y="1410830"/>
                </a:lnTo>
                <a:lnTo>
                  <a:pt x="2292974" y="1410830"/>
                </a:lnTo>
                <a:lnTo>
                  <a:pt x="2292974" y="0"/>
                </a:lnTo>
                <a:lnTo>
                  <a:pt x="4006767" y="0"/>
                </a:lnTo>
                <a:lnTo>
                  <a:pt x="4006767" y="1408543"/>
                </a:lnTo>
                <a:lnTo>
                  <a:pt x="4148748" y="1408543"/>
                </a:lnTo>
                <a:lnTo>
                  <a:pt x="4148748" y="0"/>
                </a:lnTo>
                <a:lnTo>
                  <a:pt x="5862013" y="0"/>
                </a:lnTo>
                <a:lnTo>
                  <a:pt x="5862013" y="1684411"/>
                </a:lnTo>
                <a:cubicBezTo>
                  <a:pt x="5905345" y="1634234"/>
                  <a:pt x="5953218" y="1588174"/>
                  <a:pt x="6005048" y="1546829"/>
                </a:cubicBezTo>
                <a:lnTo>
                  <a:pt x="6005048" y="0"/>
                </a:lnTo>
                <a:lnTo>
                  <a:pt x="7718489" y="0"/>
                </a:lnTo>
                <a:lnTo>
                  <a:pt x="7718489" y="2420175"/>
                </a:lnTo>
                <a:lnTo>
                  <a:pt x="7242406" y="2420175"/>
                </a:lnTo>
                <a:lnTo>
                  <a:pt x="7097963" y="3004810"/>
                </a:lnTo>
                <a:cubicBezTo>
                  <a:pt x="6843929" y="3064980"/>
                  <a:pt x="6584019" y="3096913"/>
                  <a:pt x="6322965" y="3099991"/>
                </a:cubicBezTo>
                <a:cubicBezTo>
                  <a:pt x="6139112" y="3099991"/>
                  <a:pt x="5891218" y="3071490"/>
                  <a:pt x="5729357" y="2923000"/>
                </a:cubicBezTo>
                <a:cubicBezTo>
                  <a:pt x="5597053" y="2801076"/>
                  <a:pt x="5546031" y="2619686"/>
                  <a:pt x="5555532" y="2420175"/>
                </a:cubicBezTo>
                <a:lnTo>
                  <a:pt x="5314324" y="2420175"/>
                </a:lnTo>
                <a:lnTo>
                  <a:pt x="5178853" y="3064101"/>
                </a:lnTo>
                <a:lnTo>
                  <a:pt x="4761709" y="3064101"/>
                </a:lnTo>
                <a:lnTo>
                  <a:pt x="4899466" y="2420175"/>
                </a:lnTo>
                <a:lnTo>
                  <a:pt x="4632396" y="2420175"/>
                </a:lnTo>
                <a:lnTo>
                  <a:pt x="4224576" y="3064101"/>
                </a:lnTo>
                <a:lnTo>
                  <a:pt x="3869009" y="3064101"/>
                </a:lnTo>
                <a:lnTo>
                  <a:pt x="3863907" y="2420175"/>
                </a:lnTo>
                <a:lnTo>
                  <a:pt x="3673193" y="2420175"/>
                </a:lnTo>
                <a:lnTo>
                  <a:pt x="3493562" y="3064101"/>
                </a:lnTo>
                <a:lnTo>
                  <a:pt x="3069732" y="3064101"/>
                </a:lnTo>
                <a:lnTo>
                  <a:pt x="3255345" y="2420175"/>
                </a:lnTo>
                <a:lnTo>
                  <a:pt x="2319717" y="2420175"/>
                </a:lnTo>
                <a:lnTo>
                  <a:pt x="2319717" y="2421934"/>
                </a:lnTo>
                <a:lnTo>
                  <a:pt x="2227350" y="2421934"/>
                </a:lnTo>
                <a:lnTo>
                  <a:pt x="2035229" y="3065860"/>
                </a:lnTo>
                <a:lnTo>
                  <a:pt x="1614917" y="3065860"/>
                </a:lnTo>
                <a:lnTo>
                  <a:pt x="1809678" y="2420175"/>
                </a:lnTo>
                <a:lnTo>
                  <a:pt x="1107517" y="2420175"/>
                </a:lnTo>
                <a:lnTo>
                  <a:pt x="1417165" y="3065860"/>
                </a:lnTo>
                <a:lnTo>
                  <a:pt x="952694" y="3065860"/>
                </a:lnTo>
                <a:lnTo>
                  <a:pt x="633723" y="2420175"/>
                </a:lnTo>
                <a:lnTo>
                  <a:pt x="578126" y="2420175"/>
                </a:lnTo>
                <a:lnTo>
                  <a:pt x="384596" y="3065860"/>
                </a:lnTo>
                <a:lnTo>
                  <a:pt x="0" y="3065860"/>
                </a:lnTo>
                <a:lnTo>
                  <a:pt x="437201" y="1607879"/>
                </a:lnTo>
                <a:close/>
              </a:path>
            </a:pathLst>
          </a:custGeom>
        </p:spPr>
      </p:pic>
      <p:sp>
        <p:nvSpPr>
          <p:cNvPr id="7" name="Shape 8">
            <a:extLst>
              <a:ext uri="{FF2B5EF4-FFF2-40B4-BE49-F238E27FC236}">
                <a16:creationId xmlns:a16="http://schemas.microsoft.com/office/drawing/2014/main" id="{4CBCC8CD-E01A-4F61-8E09-23B36481DC5C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9" name="Freeform 19">
            <a:extLst>
              <a:ext uri="{FF2B5EF4-FFF2-40B4-BE49-F238E27FC236}">
                <a16:creationId xmlns:a16="http://schemas.microsoft.com/office/drawing/2014/main" id="{4E889479-F88E-49B0-B6A9-E0CF984888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E252D93-E833-4E17-B413-8EC0339BA7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79E8285-6E10-4938-8BBA-7C8DC8C95F47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1605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FINAL SLIDE">
    <p:bg>
      <p:bgPr>
        <a:gradFill>
          <a:gsLst>
            <a:gs pos="0">
              <a:srgbClr val="7213EA"/>
            </a:gs>
            <a:gs pos="100000">
              <a:srgbClr val="1F4AE3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71B8724-6109-47A4-A438-AD136BBBDA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689"/>
            <a:ext cx="12192000" cy="6858000"/>
          </a:xfrm>
          <a:prstGeom prst="rect">
            <a:avLst/>
          </a:prstGeom>
        </p:spPr>
      </p:pic>
      <p:sp>
        <p:nvSpPr>
          <p:cNvPr id="6" name="Shape 8">
            <a:extLst>
              <a:ext uri="{FF2B5EF4-FFF2-40B4-BE49-F238E27FC236}">
                <a16:creationId xmlns:a16="http://schemas.microsoft.com/office/drawing/2014/main" id="{10DA7EC7-B966-4F26-A629-BC231114FE9A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173A96F6-37E6-4BFF-B84F-D4B64D629A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40353C-5FA5-4860-9949-2793CD666F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336DF39-CB75-4B94-99A7-6AC992AC2597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D282F9A0-CBE4-4286-9E2C-A2D2CAD180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34913" y="1882367"/>
            <a:ext cx="7718489" cy="3099991"/>
          </a:xfrm>
          <a:custGeom>
            <a:avLst/>
            <a:gdLst>
              <a:gd name="connsiteX0" fmla="*/ 6058533 w 7718489"/>
              <a:gd name="connsiteY0" fmla="*/ 2420175 h 3099991"/>
              <a:gd name="connsiteX1" fmla="*/ 6451222 w 7718489"/>
              <a:gd name="connsiteY1" fmla="*/ 2775917 h 3099991"/>
              <a:gd name="connsiteX2" fmla="*/ 6718997 w 7718489"/>
              <a:gd name="connsiteY2" fmla="*/ 2748296 h 3099991"/>
              <a:gd name="connsiteX3" fmla="*/ 6800455 w 7718489"/>
              <a:gd name="connsiteY3" fmla="*/ 2420175 h 3099991"/>
              <a:gd name="connsiteX4" fmla="*/ 5035465 w 7718489"/>
              <a:gd name="connsiteY4" fmla="*/ 1789620 h 3099991"/>
              <a:gd name="connsiteX5" fmla="*/ 4672157 w 7718489"/>
              <a:gd name="connsiteY5" fmla="*/ 2360005 h 3099991"/>
              <a:gd name="connsiteX6" fmla="*/ 4912310 w 7718489"/>
              <a:gd name="connsiteY6" fmla="*/ 2360005 h 3099991"/>
              <a:gd name="connsiteX7" fmla="*/ 3858453 w 7718489"/>
              <a:gd name="connsiteY7" fmla="*/ 1764813 h 3099991"/>
              <a:gd name="connsiteX8" fmla="*/ 3690962 w 7718489"/>
              <a:gd name="connsiteY8" fmla="*/ 2360005 h 3099991"/>
              <a:gd name="connsiteX9" fmla="*/ 3864435 w 7718489"/>
              <a:gd name="connsiteY9" fmla="*/ 2360005 h 3099991"/>
              <a:gd name="connsiteX10" fmla="*/ 2514654 w 7718489"/>
              <a:gd name="connsiteY10" fmla="*/ 1671568 h 3099991"/>
              <a:gd name="connsiteX11" fmla="*/ 2445687 w 7718489"/>
              <a:gd name="connsiteY11" fmla="*/ 1672623 h 3099991"/>
              <a:gd name="connsiteX12" fmla="*/ 2392026 w 7718489"/>
              <a:gd name="connsiteY12" fmla="*/ 1874949 h 3099991"/>
              <a:gd name="connsiteX13" fmla="*/ 2369859 w 7718489"/>
              <a:gd name="connsiteY13" fmla="*/ 1961686 h 3099991"/>
              <a:gd name="connsiteX14" fmla="*/ 2322884 w 7718489"/>
              <a:gd name="connsiteY14" fmla="*/ 2135863 h 3099991"/>
              <a:gd name="connsiteX15" fmla="*/ 2424575 w 7718489"/>
              <a:gd name="connsiteY15" fmla="*/ 2135863 h 3099991"/>
              <a:gd name="connsiteX16" fmla="*/ 2483161 w 7718489"/>
              <a:gd name="connsiteY16" fmla="*/ 2135863 h 3099991"/>
              <a:gd name="connsiteX17" fmla="*/ 2531895 w 7718489"/>
              <a:gd name="connsiteY17" fmla="*/ 2133575 h 3099991"/>
              <a:gd name="connsiteX18" fmla="*/ 2532423 w 7718489"/>
              <a:gd name="connsiteY18" fmla="*/ 2133575 h 3099991"/>
              <a:gd name="connsiteX19" fmla="*/ 2837145 w 7718489"/>
              <a:gd name="connsiteY19" fmla="*/ 1896765 h 3099991"/>
              <a:gd name="connsiteX20" fmla="*/ 2844358 w 7718489"/>
              <a:gd name="connsiteY20" fmla="*/ 1722589 h 3099991"/>
              <a:gd name="connsiteX21" fmla="*/ 2593473 w 7718489"/>
              <a:gd name="connsiteY21" fmla="*/ 1671568 h 3099991"/>
              <a:gd name="connsiteX22" fmla="*/ 4208566 w 7718489"/>
              <a:gd name="connsiteY22" fmla="*/ 61049 h 3099991"/>
              <a:gd name="connsiteX23" fmla="*/ 4208566 w 7718489"/>
              <a:gd name="connsiteY23" fmla="*/ 2360885 h 3099991"/>
              <a:gd name="connsiteX24" fmla="*/ 4252198 w 7718489"/>
              <a:gd name="connsiteY24" fmla="*/ 2360885 h 3099991"/>
              <a:gd name="connsiteX25" fmla="*/ 4854779 w 7718489"/>
              <a:gd name="connsiteY25" fmla="*/ 1410830 h 3099991"/>
              <a:gd name="connsiteX26" fmla="*/ 5528086 w 7718489"/>
              <a:gd name="connsiteY26" fmla="*/ 1410830 h 3099991"/>
              <a:gd name="connsiteX27" fmla="*/ 5329102 w 7718489"/>
              <a:gd name="connsiteY27" fmla="*/ 2360005 h 3099991"/>
              <a:gd name="connsiteX28" fmla="*/ 5563097 w 7718489"/>
              <a:gd name="connsiteY28" fmla="*/ 2360005 h 3099991"/>
              <a:gd name="connsiteX29" fmla="*/ 5588256 w 7718489"/>
              <a:gd name="connsiteY29" fmla="*/ 2220488 h 3099991"/>
              <a:gd name="connsiteX30" fmla="*/ 5800435 w 7718489"/>
              <a:gd name="connsiteY30" fmla="*/ 1764813 h 3099991"/>
              <a:gd name="connsiteX31" fmla="*/ 5801491 w 7718489"/>
              <a:gd name="connsiteY31" fmla="*/ 1435285 h 3099991"/>
              <a:gd name="connsiteX32" fmla="*/ 5800787 w 7718489"/>
              <a:gd name="connsiteY32" fmla="*/ 61049 h 3099991"/>
              <a:gd name="connsiteX33" fmla="*/ 2354376 w 7718489"/>
              <a:gd name="connsiteY33" fmla="*/ 61049 h 3099991"/>
              <a:gd name="connsiteX34" fmla="*/ 2354376 w 7718489"/>
              <a:gd name="connsiteY34" fmla="*/ 1408015 h 3099991"/>
              <a:gd name="connsiteX35" fmla="*/ 2671061 w 7718489"/>
              <a:gd name="connsiteY35" fmla="*/ 1408015 h 3099991"/>
              <a:gd name="connsiteX36" fmla="*/ 3184442 w 7718489"/>
              <a:gd name="connsiteY36" fmla="*/ 1525364 h 3099991"/>
              <a:gd name="connsiteX37" fmla="*/ 3238279 w 7718489"/>
              <a:gd name="connsiteY37" fmla="*/ 1902571 h 3099991"/>
              <a:gd name="connsiteX38" fmla="*/ 2851219 w 7718489"/>
              <a:gd name="connsiteY38" fmla="*/ 2360005 h 3099991"/>
              <a:gd name="connsiteX39" fmla="*/ 3273466 w 7718489"/>
              <a:gd name="connsiteY39" fmla="*/ 2360005 h 3099991"/>
              <a:gd name="connsiteX40" fmla="*/ 3546695 w 7718489"/>
              <a:gd name="connsiteY40" fmla="*/ 1408543 h 3099991"/>
              <a:gd name="connsiteX41" fmla="*/ 3944662 w 7718489"/>
              <a:gd name="connsiteY41" fmla="*/ 1408543 h 3099991"/>
              <a:gd name="connsiteX42" fmla="*/ 3944662 w 7718489"/>
              <a:gd name="connsiteY42" fmla="*/ 61049 h 3099991"/>
              <a:gd name="connsiteX43" fmla="*/ 498603 w 7718489"/>
              <a:gd name="connsiteY43" fmla="*/ 61049 h 3099991"/>
              <a:gd name="connsiteX44" fmla="*/ 498603 w 7718489"/>
              <a:gd name="connsiteY44" fmla="*/ 1410830 h 3099991"/>
              <a:gd name="connsiteX45" fmla="*/ 881440 w 7718489"/>
              <a:gd name="connsiteY45" fmla="*/ 1410830 h 3099991"/>
              <a:gd name="connsiteX46" fmla="*/ 676826 w 7718489"/>
              <a:gd name="connsiteY46" fmla="*/ 2091351 h 3099991"/>
              <a:gd name="connsiteX47" fmla="*/ 1308612 w 7718489"/>
              <a:gd name="connsiteY47" fmla="*/ 1412062 h 3099991"/>
              <a:gd name="connsiteX48" fmla="*/ 1827624 w 7718489"/>
              <a:gd name="connsiteY48" fmla="*/ 1412062 h 3099991"/>
              <a:gd name="connsiteX49" fmla="*/ 1019725 w 7718489"/>
              <a:gd name="connsiteY49" fmla="*/ 2237729 h 3099991"/>
              <a:gd name="connsiteX50" fmla="*/ 1078312 w 7718489"/>
              <a:gd name="connsiteY50" fmla="*/ 2360885 h 3099991"/>
              <a:gd name="connsiteX51" fmla="*/ 1827624 w 7718489"/>
              <a:gd name="connsiteY51" fmla="*/ 2360885 h 3099991"/>
              <a:gd name="connsiteX52" fmla="*/ 1836596 w 7718489"/>
              <a:gd name="connsiteY52" fmla="*/ 2333966 h 3099991"/>
              <a:gd name="connsiteX53" fmla="*/ 2064434 w 7718489"/>
              <a:gd name="connsiteY53" fmla="*/ 1575506 h 3099991"/>
              <a:gd name="connsiteX54" fmla="*/ 2089416 w 7718489"/>
              <a:gd name="connsiteY54" fmla="*/ 1492992 h 3099991"/>
              <a:gd name="connsiteX55" fmla="*/ 2089416 w 7718489"/>
              <a:gd name="connsiteY55" fmla="*/ 61049 h 3099991"/>
              <a:gd name="connsiteX56" fmla="*/ 6065395 w 7718489"/>
              <a:gd name="connsiteY56" fmla="*/ 60698 h 3099991"/>
              <a:gd name="connsiteX57" fmla="*/ 6065395 w 7718489"/>
              <a:gd name="connsiteY57" fmla="*/ 1503372 h 3099991"/>
              <a:gd name="connsiteX58" fmla="*/ 6770898 w 7718489"/>
              <a:gd name="connsiteY58" fmla="*/ 1317056 h 3099991"/>
              <a:gd name="connsiteX59" fmla="*/ 7344274 w 7718489"/>
              <a:gd name="connsiteY59" fmla="*/ 1514632 h 3099991"/>
              <a:gd name="connsiteX60" fmla="*/ 7383859 w 7718489"/>
              <a:gd name="connsiteY60" fmla="*/ 1868792 h 3099991"/>
              <a:gd name="connsiteX61" fmla="*/ 6906017 w 7718489"/>
              <a:gd name="connsiteY61" fmla="*/ 1868792 h 3099991"/>
              <a:gd name="connsiteX62" fmla="*/ 6667272 w 7718489"/>
              <a:gd name="connsiteY62" fmla="*/ 1642186 h 3099991"/>
              <a:gd name="connsiteX63" fmla="*/ 6084044 w 7718489"/>
              <a:gd name="connsiteY63" fmla="*/ 2210811 h 3099991"/>
              <a:gd name="connsiteX64" fmla="*/ 6065395 w 7718489"/>
              <a:gd name="connsiteY64" fmla="*/ 2305465 h 3099991"/>
              <a:gd name="connsiteX65" fmla="*/ 6065395 w 7718489"/>
              <a:gd name="connsiteY65" fmla="*/ 2360005 h 3099991"/>
              <a:gd name="connsiteX66" fmla="*/ 6453685 w 7718489"/>
              <a:gd name="connsiteY66" fmla="*/ 2360005 h 3099991"/>
              <a:gd name="connsiteX67" fmla="*/ 6519837 w 7718489"/>
              <a:gd name="connsiteY67" fmla="*/ 2094693 h 3099991"/>
              <a:gd name="connsiteX68" fmla="*/ 7322633 w 7718489"/>
              <a:gd name="connsiteY68" fmla="*/ 2094693 h 3099991"/>
              <a:gd name="connsiteX69" fmla="*/ 7257009 w 7718489"/>
              <a:gd name="connsiteY69" fmla="*/ 2360005 h 3099991"/>
              <a:gd name="connsiteX70" fmla="*/ 7658671 w 7718489"/>
              <a:gd name="connsiteY70" fmla="*/ 2360005 h 3099991"/>
              <a:gd name="connsiteX71" fmla="*/ 7657967 w 7718489"/>
              <a:gd name="connsiteY71" fmla="*/ 60698 h 3099991"/>
              <a:gd name="connsiteX72" fmla="*/ 437201 w 7718489"/>
              <a:gd name="connsiteY72" fmla="*/ 0 h 3099991"/>
              <a:gd name="connsiteX73" fmla="*/ 2151170 w 7718489"/>
              <a:gd name="connsiteY73" fmla="*/ 0 h 3099991"/>
              <a:gd name="connsiteX74" fmla="*/ 2151170 w 7718489"/>
              <a:gd name="connsiteY74" fmla="*/ 1410830 h 3099991"/>
              <a:gd name="connsiteX75" fmla="*/ 2292974 w 7718489"/>
              <a:gd name="connsiteY75" fmla="*/ 1410830 h 3099991"/>
              <a:gd name="connsiteX76" fmla="*/ 2292974 w 7718489"/>
              <a:gd name="connsiteY76" fmla="*/ 0 h 3099991"/>
              <a:gd name="connsiteX77" fmla="*/ 4006767 w 7718489"/>
              <a:gd name="connsiteY77" fmla="*/ 0 h 3099991"/>
              <a:gd name="connsiteX78" fmla="*/ 4006767 w 7718489"/>
              <a:gd name="connsiteY78" fmla="*/ 1408543 h 3099991"/>
              <a:gd name="connsiteX79" fmla="*/ 4148748 w 7718489"/>
              <a:gd name="connsiteY79" fmla="*/ 1408543 h 3099991"/>
              <a:gd name="connsiteX80" fmla="*/ 4148748 w 7718489"/>
              <a:gd name="connsiteY80" fmla="*/ 0 h 3099991"/>
              <a:gd name="connsiteX81" fmla="*/ 5862013 w 7718489"/>
              <a:gd name="connsiteY81" fmla="*/ 0 h 3099991"/>
              <a:gd name="connsiteX82" fmla="*/ 5862013 w 7718489"/>
              <a:gd name="connsiteY82" fmla="*/ 1684411 h 3099991"/>
              <a:gd name="connsiteX83" fmla="*/ 6005048 w 7718489"/>
              <a:gd name="connsiteY83" fmla="*/ 1546829 h 3099991"/>
              <a:gd name="connsiteX84" fmla="*/ 6005048 w 7718489"/>
              <a:gd name="connsiteY84" fmla="*/ 0 h 3099991"/>
              <a:gd name="connsiteX85" fmla="*/ 7718489 w 7718489"/>
              <a:gd name="connsiteY85" fmla="*/ 0 h 3099991"/>
              <a:gd name="connsiteX86" fmla="*/ 7718489 w 7718489"/>
              <a:gd name="connsiteY86" fmla="*/ 2420175 h 3099991"/>
              <a:gd name="connsiteX87" fmla="*/ 7242406 w 7718489"/>
              <a:gd name="connsiteY87" fmla="*/ 2420175 h 3099991"/>
              <a:gd name="connsiteX88" fmla="*/ 7097963 w 7718489"/>
              <a:gd name="connsiteY88" fmla="*/ 3004810 h 3099991"/>
              <a:gd name="connsiteX89" fmla="*/ 6322965 w 7718489"/>
              <a:gd name="connsiteY89" fmla="*/ 3099991 h 3099991"/>
              <a:gd name="connsiteX90" fmla="*/ 5729357 w 7718489"/>
              <a:gd name="connsiteY90" fmla="*/ 2923000 h 3099991"/>
              <a:gd name="connsiteX91" fmla="*/ 5555532 w 7718489"/>
              <a:gd name="connsiteY91" fmla="*/ 2420175 h 3099991"/>
              <a:gd name="connsiteX92" fmla="*/ 5314324 w 7718489"/>
              <a:gd name="connsiteY92" fmla="*/ 2420175 h 3099991"/>
              <a:gd name="connsiteX93" fmla="*/ 5178853 w 7718489"/>
              <a:gd name="connsiteY93" fmla="*/ 3064101 h 3099991"/>
              <a:gd name="connsiteX94" fmla="*/ 4761709 w 7718489"/>
              <a:gd name="connsiteY94" fmla="*/ 3064101 h 3099991"/>
              <a:gd name="connsiteX95" fmla="*/ 4899466 w 7718489"/>
              <a:gd name="connsiteY95" fmla="*/ 2420175 h 3099991"/>
              <a:gd name="connsiteX96" fmla="*/ 4632396 w 7718489"/>
              <a:gd name="connsiteY96" fmla="*/ 2420175 h 3099991"/>
              <a:gd name="connsiteX97" fmla="*/ 4224576 w 7718489"/>
              <a:gd name="connsiteY97" fmla="*/ 3064101 h 3099991"/>
              <a:gd name="connsiteX98" fmla="*/ 3869009 w 7718489"/>
              <a:gd name="connsiteY98" fmla="*/ 3064101 h 3099991"/>
              <a:gd name="connsiteX99" fmla="*/ 3863907 w 7718489"/>
              <a:gd name="connsiteY99" fmla="*/ 2420175 h 3099991"/>
              <a:gd name="connsiteX100" fmla="*/ 3673193 w 7718489"/>
              <a:gd name="connsiteY100" fmla="*/ 2420175 h 3099991"/>
              <a:gd name="connsiteX101" fmla="*/ 3493562 w 7718489"/>
              <a:gd name="connsiteY101" fmla="*/ 3064101 h 3099991"/>
              <a:gd name="connsiteX102" fmla="*/ 3069732 w 7718489"/>
              <a:gd name="connsiteY102" fmla="*/ 3064101 h 3099991"/>
              <a:gd name="connsiteX103" fmla="*/ 3255345 w 7718489"/>
              <a:gd name="connsiteY103" fmla="*/ 2420175 h 3099991"/>
              <a:gd name="connsiteX104" fmla="*/ 2319717 w 7718489"/>
              <a:gd name="connsiteY104" fmla="*/ 2420175 h 3099991"/>
              <a:gd name="connsiteX105" fmla="*/ 2319717 w 7718489"/>
              <a:gd name="connsiteY105" fmla="*/ 2421934 h 3099991"/>
              <a:gd name="connsiteX106" fmla="*/ 2227350 w 7718489"/>
              <a:gd name="connsiteY106" fmla="*/ 2421934 h 3099991"/>
              <a:gd name="connsiteX107" fmla="*/ 2035228 w 7718489"/>
              <a:gd name="connsiteY107" fmla="*/ 3065860 h 3099991"/>
              <a:gd name="connsiteX108" fmla="*/ 1614917 w 7718489"/>
              <a:gd name="connsiteY108" fmla="*/ 3065860 h 3099991"/>
              <a:gd name="connsiteX109" fmla="*/ 1809678 w 7718489"/>
              <a:gd name="connsiteY109" fmla="*/ 2420175 h 3099991"/>
              <a:gd name="connsiteX110" fmla="*/ 1107517 w 7718489"/>
              <a:gd name="connsiteY110" fmla="*/ 2420175 h 3099991"/>
              <a:gd name="connsiteX111" fmla="*/ 1417165 w 7718489"/>
              <a:gd name="connsiteY111" fmla="*/ 3065860 h 3099991"/>
              <a:gd name="connsiteX112" fmla="*/ 952694 w 7718489"/>
              <a:gd name="connsiteY112" fmla="*/ 3065860 h 3099991"/>
              <a:gd name="connsiteX113" fmla="*/ 633722 w 7718489"/>
              <a:gd name="connsiteY113" fmla="*/ 2420175 h 3099991"/>
              <a:gd name="connsiteX114" fmla="*/ 578126 w 7718489"/>
              <a:gd name="connsiteY114" fmla="*/ 2420175 h 3099991"/>
              <a:gd name="connsiteX115" fmla="*/ 384596 w 7718489"/>
              <a:gd name="connsiteY115" fmla="*/ 3065860 h 3099991"/>
              <a:gd name="connsiteX116" fmla="*/ 0 w 7718489"/>
              <a:gd name="connsiteY116" fmla="*/ 3065860 h 3099991"/>
              <a:gd name="connsiteX117" fmla="*/ 437201 w 7718489"/>
              <a:gd name="connsiteY117" fmla="*/ 1607879 h 30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7718489" h="3099991">
                <a:moveTo>
                  <a:pt x="6058533" y="2420175"/>
                </a:moveTo>
                <a:cubicBezTo>
                  <a:pt x="6061876" y="2669124"/>
                  <a:pt x="6221626" y="2775917"/>
                  <a:pt x="6451222" y="2775917"/>
                </a:cubicBezTo>
                <a:cubicBezTo>
                  <a:pt x="6541125" y="2774668"/>
                  <a:pt x="6630730" y="2765432"/>
                  <a:pt x="6718997" y="2748296"/>
                </a:cubicBezTo>
                <a:lnTo>
                  <a:pt x="6800455" y="2420175"/>
                </a:lnTo>
                <a:close/>
                <a:moveTo>
                  <a:pt x="5035465" y="1789620"/>
                </a:moveTo>
                <a:lnTo>
                  <a:pt x="4672157" y="2360005"/>
                </a:lnTo>
                <a:lnTo>
                  <a:pt x="4912310" y="2360005"/>
                </a:lnTo>
                <a:close/>
                <a:moveTo>
                  <a:pt x="3858453" y="1764813"/>
                </a:moveTo>
                <a:lnTo>
                  <a:pt x="3690962" y="2360005"/>
                </a:lnTo>
                <a:lnTo>
                  <a:pt x="3864435" y="2360005"/>
                </a:lnTo>
                <a:close/>
                <a:moveTo>
                  <a:pt x="2514654" y="1671568"/>
                </a:moveTo>
                <a:cubicBezTo>
                  <a:pt x="2492486" y="1671568"/>
                  <a:pt x="2469438" y="1672623"/>
                  <a:pt x="2445687" y="1672623"/>
                </a:cubicBezTo>
                <a:lnTo>
                  <a:pt x="2392026" y="1874949"/>
                </a:lnTo>
                <a:lnTo>
                  <a:pt x="2369859" y="1961686"/>
                </a:lnTo>
                <a:lnTo>
                  <a:pt x="2322884" y="2135863"/>
                </a:lnTo>
                <a:lnTo>
                  <a:pt x="2424575" y="2135863"/>
                </a:lnTo>
                <a:cubicBezTo>
                  <a:pt x="2441816" y="2135863"/>
                  <a:pt x="2459762" y="2135863"/>
                  <a:pt x="2483161" y="2135863"/>
                </a:cubicBezTo>
                <a:cubicBezTo>
                  <a:pt x="2500931" y="2135863"/>
                  <a:pt x="2516589" y="2133575"/>
                  <a:pt x="2531895" y="2133575"/>
                </a:cubicBezTo>
                <a:lnTo>
                  <a:pt x="2532423" y="2133575"/>
                </a:lnTo>
                <a:cubicBezTo>
                  <a:pt x="2728240" y="2118621"/>
                  <a:pt x="2788938" y="2043848"/>
                  <a:pt x="2837145" y="1896765"/>
                </a:cubicBezTo>
                <a:cubicBezTo>
                  <a:pt x="2865118" y="1811437"/>
                  <a:pt x="2867933" y="1755137"/>
                  <a:pt x="2844358" y="1722589"/>
                </a:cubicBezTo>
                <a:cubicBezTo>
                  <a:pt x="2813393" y="1679308"/>
                  <a:pt x="2728240" y="1671568"/>
                  <a:pt x="2593473" y="1671568"/>
                </a:cubicBezTo>
                <a:close/>
                <a:moveTo>
                  <a:pt x="4208566" y="61049"/>
                </a:moveTo>
                <a:lnTo>
                  <a:pt x="4208566" y="2360885"/>
                </a:lnTo>
                <a:lnTo>
                  <a:pt x="4252198" y="2360885"/>
                </a:lnTo>
                <a:lnTo>
                  <a:pt x="4854779" y="1410830"/>
                </a:lnTo>
                <a:lnTo>
                  <a:pt x="5528086" y="1410830"/>
                </a:lnTo>
                <a:lnTo>
                  <a:pt x="5329102" y="2360005"/>
                </a:lnTo>
                <a:lnTo>
                  <a:pt x="5563097" y="2360005"/>
                </a:lnTo>
                <a:cubicBezTo>
                  <a:pt x="5567865" y="2312924"/>
                  <a:pt x="5576275" y="2266266"/>
                  <a:pt x="5588256" y="2220488"/>
                </a:cubicBezTo>
                <a:cubicBezTo>
                  <a:pt x="5629319" y="2056480"/>
                  <a:pt x="5701348" y="1901815"/>
                  <a:pt x="5800435" y="1764813"/>
                </a:cubicBezTo>
                <a:lnTo>
                  <a:pt x="5801491" y="1435285"/>
                </a:lnTo>
                <a:lnTo>
                  <a:pt x="5800787" y="61049"/>
                </a:lnTo>
                <a:close/>
                <a:moveTo>
                  <a:pt x="2354376" y="61049"/>
                </a:moveTo>
                <a:lnTo>
                  <a:pt x="2354376" y="1408015"/>
                </a:lnTo>
                <a:lnTo>
                  <a:pt x="2671061" y="1408015"/>
                </a:lnTo>
                <a:cubicBezTo>
                  <a:pt x="2861952" y="1408015"/>
                  <a:pt x="3077121" y="1396931"/>
                  <a:pt x="3184442" y="1525364"/>
                </a:cubicBezTo>
                <a:cubicBezTo>
                  <a:pt x="3255872" y="1611749"/>
                  <a:pt x="3271706" y="1726635"/>
                  <a:pt x="3238279" y="1902571"/>
                </a:cubicBezTo>
                <a:cubicBezTo>
                  <a:pt x="3197286" y="2128297"/>
                  <a:pt x="3066389" y="2280306"/>
                  <a:pt x="2851219" y="2360005"/>
                </a:cubicBezTo>
                <a:lnTo>
                  <a:pt x="3273466" y="2360005"/>
                </a:lnTo>
                <a:lnTo>
                  <a:pt x="3546695" y="1408543"/>
                </a:lnTo>
                <a:lnTo>
                  <a:pt x="3944662" y="1408543"/>
                </a:lnTo>
                <a:lnTo>
                  <a:pt x="3944662" y="61049"/>
                </a:lnTo>
                <a:close/>
                <a:moveTo>
                  <a:pt x="498603" y="61049"/>
                </a:moveTo>
                <a:lnTo>
                  <a:pt x="498603" y="1410830"/>
                </a:lnTo>
                <a:lnTo>
                  <a:pt x="881440" y="1410830"/>
                </a:lnTo>
                <a:lnTo>
                  <a:pt x="676826" y="2091351"/>
                </a:lnTo>
                <a:lnTo>
                  <a:pt x="1308612" y="1412062"/>
                </a:lnTo>
                <a:lnTo>
                  <a:pt x="1827624" y="1412062"/>
                </a:lnTo>
                <a:lnTo>
                  <a:pt x="1019725" y="2237729"/>
                </a:lnTo>
                <a:lnTo>
                  <a:pt x="1078312" y="2360885"/>
                </a:lnTo>
                <a:lnTo>
                  <a:pt x="1827624" y="2360885"/>
                </a:lnTo>
                <a:lnTo>
                  <a:pt x="1836596" y="2333966"/>
                </a:lnTo>
                <a:lnTo>
                  <a:pt x="2064434" y="1575506"/>
                </a:lnTo>
                <a:lnTo>
                  <a:pt x="2089416" y="1492992"/>
                </a:lnTo>
                <a:lnTo>
                  <a:pt x="2089416" y="61049"/>
                </a:lnTo>
                <a:close/>
                <a:moveTo>
                  <a:pt x="6065395" y="60698"/>
                </a:moveTo>
                <a:lnTo>
                  <a:pt x="6065395" y="1503372"/>
                </a:lnTo>
                <a:cubicBezTo>
                  <a:pt x="6304668" y="1347317"/>
                  <a:pt x="6581591" y="1317056"/>
                  <a:pt x="6770898" y="1317056"/>
                </a:cubicBezTo>
                <a:cubicBezTo>
                  <a:pt x="7037265" y="1317056"/>
                  <a:pt x="7242406" y="1373884"/>
                  <a:pt x="7344274" y="1514632"/>
                </a:cubicBezTo>
                <a:cubicBezTo>
                  <a:pt x="7434353" y="1644649"/>
                  <a:pt x="7402860" y="1785926"/>
                  <a:pt x="7383859" y="1868792"/>
                </a:cubicBezTo>
                <a:lnTo>
                  <a:pt x="6906017" y="1868792"/>
                </a:lnTo>
                <a:cubicBezTo>
                  <a:pt x="6923434" y="1691096"/>
                  <a:pt x="6795705" y="1642186"/>
                  <a:pt x="6667272" y="1642186"/>
                </a:cubicBezTo>
                <a:cubicBezTo>
                  <a:pt x="6342669" y="1642186"/>
                  <a:pt x="6154418" y="1924739"/>
                  <a:pt x="6084044" y="2210811"/>
                </a:cubicBezTo>
                <a:cubicBezTo>
                  <a:pt x="6076479" y="2244239"/>
                  <a:pt x="6071376" y="2275556"/>
                  <a:pt x="6065395" y="2305465"/>
                </a:cubicBezTo>
                <a:lnTo>
                  <a:pt x="6065395" y="2360005"/>
                </a:lnTo>
                <a:lnTo>
                  <a:pt x="6453685" y="2360005"/>
                </a:lnTo>
                <a:lnTo>
                  <a:pt x="6519837" y="2094693"/>
                </a:lnTo>
                <a:lnTo>
                  <a:pt x="7322633" y="2094693"/>
                </a:lnTo>
                <a:lnTo>
                  <a:pt x="7257009" y="2360005"/>
                </a:lnTo>
                <a:lnTo>
                  <a:pt x="7658671" y="2360005"/>
                </a:lnTo>
                <a:lnTo>
                  <a:pt x="7657967" y="60698"/>
                </a:lnTo>
                <a:close/>
                <a:moveTo>
                  <a:pt x="437201" y="0"/>
                </a:moveTo>
                <a:lnTo>
                  <a:pt x="2151170" y="0"/>
                </a:lnTo>
                <a:lnTo>
                  <a:pt x="2151170" y="1410830"/>
                </a:lnTo>
                <a:lnTo>
                  <a:pt x="2292974" y="1410830"/>
                </a:lnTo>
                <a:lnTo>
                  <a:pt x="2292974" y="0"/>
                </a:lnTo>
                <a:lnTo>
                  <a:pt x="4006767" y="0"/>
                </a:lnTo>
                <a:lnTo>
                  <a:pt x="4006767" y="1408543"/>
                </a:lnTo>
                <a:lnTo>
                  <a:pt x="4148748" y="1408543"/>
                </a:lnTo>
                <a:lnTo>
                  <a:pt x="4148748" y="0"/>
                </a:lnTo>
                <a:lnTo>
                  <a:pt x="5862013" y="0"/>
                </a:lnTo>
                <a:lnTo>
                  <a:pt x="5862013" y="1684411"/>
                </a:lnTo>
                <a:cubicBezTo>
                  <a:pt x="5905345" y="1634234"/>
                  <a:pt x="5953218" y="1588174"/>
                  <a:pt x="6005048" y="1546829"/>
                </a:cubicBezTo>
                <a:lnTo>
                  <a:pt x="6005048" y="0"/>
                </a:lnTo>
                <a:lnTo>
                  <a:pt x="7718489" y="0"/>
                </a:lnTo>
                <a:lnTo>
                  <a:pt x="7718489" y="2420175"/>
                </a:lnTo>
                <a:lnTo>
                  <a:pt x="7242406" y="2420175"/>
                </a:lnTo>
                <a:lnTo>
                  <a:pt x="7097963" y="3004810"/>
                </a:lnTo>
                <a:cubicBezTo>
                  <a:pt x="6843929" y="3064980"/>
                  <a:pt x="6584019" y="3096913"/>
                  <a:pt x="6322965" y="3099991"/>
                </a:cubicBezTo>
                <a:cubicBezTo>
                  <a:pt x="6139112" y="3099991"/>
                  <a:pt x="5891218" y="3071490"/>
                  <a:pt x="5729357" y="2923000"/>
                </a:cubicBezTo>
                <a:cubicBezTo>
                  <a:pt x="5597053" y="2801076"/>
                  <a:pt x="5546031" y="2619686"/>
                  <a:pt x="5555532" y="2420175"/>
                </a:cubicBezTo>
                <a:lnTo>
                  <a:pt x="5314324" y="2420175"/>
                </a:lnTo>
                <a:lnTo>
                  <a:pt x="5178853" y="3064101"/>
                </a:lnTo>
                <a:lnTo>
                  <a:pt x="4761709" y="3064101"/>
                </a:lnTo>
                <a:lnTo>
                  <a:pt x="4899466" y="2420175"/>
                </a:lnTo>
                <a:lnTo>
                  <a:pt x="4632396" y="2420175"/>
                </a:lnTo>
                <a:lnTo>
                  <a:pt x="4224576" y="3064101"/>
                </a:lnTo>
                <a:lnTo>
                  <a:pt x="3869009" y="3064101"/>
                </a:lnTo>
                <a:lnTo>
                  <a:pt x="3863907" y="2420175"/>
                </a:lnTo>
                <a:lnTo>
                  <a:pt x="3673193" y="2420175"/>
                </a:lnTo>
                <a:lnTo>
                  <a:pt x="3493562" y="3064101"/>
                </a:lnTo>
                <a:lnTo>
                  <a:pt x="3069732" y="3064101"/>
                </a:lnTo>
                <a:lnTo>
                  <a:pt x="3255345" y="2420175"/>
                </a:lnTo>
                <a:lnTo>
                  <a:pt x="2319717" y="2420175"/>
                </a:lnTo>
                <a:lnTo>
                  <a:pt x="2319717" y="2421934"/>
                </a:lnTo>
                <a:lnTo>
                  <a:pt x="2227350" y="2421934"/>
                </a:lnTo>
                <a:lnTo>
                  <a:pt x="2035228" y="3065860"/>
                </a:lnTo>
                <a:lnTo>
                  <a:pt x="1614917" y="3065860"/>
                </a:lnTo>
                <a:lnTo>
                  <a:pt x="1809678" y="2420175"/>
                </a:lnTo>
                <a:lnTo>
                  <a:pt x="1107517" y="2420175"/>
                </a:lnTo>
                <a:lnTo>
                  <a:pt x="1417165" y="3065860"/>
                </a:lnTo>
                <a:lnTo>
                  <a:pt x="952694" y="3065860"/>
                </a:lnTo>
                <a:lnTo>
                  <a:pt x="633722" y="2420175"/>
                </a:lnTo>
                <a:lnTo>
                  <a:pt x="578126" y="2420175"/>
                </a:lnTo>
                <a:lnTo>
                  <a:pt x="384596" y="3065860"/>
                </a:lnTo>
                <a:lnTo>
                  <a:pt x="0" y="3065860"/>
                </a:lnTo>
                <a:lnTo>
                  <a:pt x="437201" y="1607879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46220413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FINAL SLIDE">
    <p:bg>
      <p:bgPr>
        <a:gradFill>
          <a:gsLst>
            <a:gs pos="0">
              <a:srgbClr val="7213EA"/>
            </a:gs>
            <a:gs pos="100000">
              <a:srgbClr val="1F4AE3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BFABFCD1-5785-4AFC-8DA5-9971CBE352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C1D1989-8373-4A6D-9533-37075802AD89}"/>
              </a:ext>
            </a:extLst>
          </p:cNvPr>
          <p:cNvSpPr/>
          <p:nvPr userDrawn="1"/>
        </p:nvSpPr>
        <p:spPr>
          <a:xfrm>
            <a:off x="0" y="-1"/>
            <a:ext cx="6362689" cy="6858001"/>
          </a:xfrm>
          <a:prstGeom prst="rect">
            <a:avLst/>
          </a:prstGeom>
          <a:gradFill>
            <a:gsLst>
              <a:gs pos="0">
                <a:srgbClr val="7213EA">
                  <a:alpha val="43000"/>
                </a:srgbClr>
              </a:gs>
              <a:gs pos="100000">
                <a:srgbClr val="1F4AE3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GB" sz="1500" err="1">
              <a:solidFill>
                <a:schemeClr val="bg1"/>
              </a:solidFill>
            </a:endParaRP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10DA7EC7-B966-4F26-A629-BC231114FE9A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465B88E-59B6-4300-A6A5-FE6907AB6F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967794" y="6295536"/>
            <a:ext cx="18662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173A96F6-37E6-4BFF-B84F-D4B64D629A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40353C-5FA5-4860-9949-2793CD666F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336DF39-CB75-4B94-99A7-6AC992AC2597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Graphic 6">
            <a:extLst>
              <a:ext uri="{FF2B5EF4-FFF2-40B4-BE49-F238E27FC236}">
                <a16:creationId xmlns:a16="http://schemas.microsoft.com/office/drawing/2014/main" id="{ED1A19EE-224F-4C0C-A670-C9BBCD8540D6}"/>
              </a:ext>
            </a:extLst>
          </p:cNvPr>
          <p:cNvSpPr/>
          <p:nvPr userDrawn="1"/>
        </p:nvSpPr>
        <p:spPr>
          <a:xfrm>
            <a:off x="2234933" y="1882443"/>
            <a:ext cx="7718488" cy="3099991"/>
          </a:xfrm>
          <a:custGeom>
            <a:avLst/>
            <a:gdLst>
              <a:gd name="connsiteX0" fmla="*/ 6005027 w 7718488"/>
              <a:gd name="connsiteY0" fmla="*/ -77 h 3099991"/>
              <a:gd name="connsiteX1" fmla="*/ 6005027 w 7718488"/>
              <a:gd name="connsiteY1" fmla="*/ 1546752 h 3099991"/>
              <a:gd name="connsiteX2" fmla="*/ 5861992 w 7718488"/>
              <a:gd name="connsiteY2" fmla="*/ 1684334 h 3099991"/>
              <a:gd name="connsiteX3" fmla="*/ 5861992 w 7718488"/>
              <a:gd name="connsiteY3" fmla="*/ -77 h 3099991"/>
              <a:gd name="connsiteX4" fmla="*/ 4148727 w 7718488"/>
              <a:gd name="connsiteY4" fmla="*/ -77 h 3099991"/>
              <a:gd name="connsiteX5" fmla="*/ 4148727 w 7718488"/>
              <a:gd name="connsiteY5" fmla="*/ 1408466 h 3099991"/>
              <a:gd name="connsiteX6" fmla="*/ 4006746 w 7718488"/>
              <a:gd name="connsiteY6" fmla="*/ 1408466 h 3099991"/>
              <a:gd name="connsiteX7" fmla="*/ 4006746 w 7718488"/>
              <a:gd name="connsiteY7" fmla="*/ -77 h 3099991"/>
              <a:gd name="connsiteX8" fmla="*/ 2292953 w 7718488"/>
              <a:gd name="connsiteY8" fmla="*/ -77 h 3099991"/>
              <a:gd name="connsiteX9" fmla="*/ 2292953 w 7718488"/>
              <a:gd name="connsiteY9" fmla="*/ 1410753 h 3099991"/>
              <a:gd name="connsiteX10" fmla="*/ 2151149 w 7718488"/>
              <a:gd name="connsiteY10" fmla="*/ 1410753 h 3099991"/>
              <a:gd name="connsiteX11" fmla="*/ 2151149 w 7718488"/>
              <a:gd name="connsiteY11" fmla="*/ -77 h 3099991"/>
              <a:gd name="connsiteX12" fmla="*/ 437180 w 7718488"/>
              <a:gd name="connsiteY12" fmla="*/ -77 h 3099991"/>
              <a:gd name="connsiteX13" fmla="*/ 437180 w 7718488"/>
              <a:gd name="connsiteY13" fmla="*/ 1607802 h 3099991"/>
              <a:gd name="connsiteX14" fmla="*/ -21 w 7718488"/>
              <a:gd name="connsiteY14" fmla="*/ 3065783 h 3099991"/>
              <a:gd name="connsiteX15" fmla="*/ 384575 w 7718488"/>
              <a:gd name="connsiteY15" fmla="*/ 3065783 h 3099991"/>
              <a:gd name="connsiteX16" fmla="*/ 578105 w 7718488"/>
              <a:gd name="connsiteY16" fmla="*/ 2420098 h 3099991"/>
              <a:gd name="connsiteX17" fmla="*/ 633701 w 7718488"/>
              <a:gd name="connsiteY17" fmla="*/ 2420098 h 3099991"/>
              <a:gd name="connsiteX18" fmla="*/ 952673 w 7718488"/>
              <a:gd name="connsiteY18" fmla="*/ 3065783 h 3099991"/>
              <a:gd name="connsiteX19" fmla="*/ 1417144 w 7718488"/>
              <a:gd name="connsiteY19" fmla="*/ 3065783 h 3099991"/>
              <a:gd name="connsiteX20" fmla="*/ 1107496 w 7718488"/>
              <a:gd name="connsiteY20" fmla="*/ 2420098 h 3099991"/>
              <a:gd name="connsiteX21" fmla="*/ 1809657 w 7718488"/>
              <a:gd name="connsiteY21" fmla="*/ 2420098 h 3099991"/>
              <a:gd name="connsiteX22" fmla="*/ 1614896 w 7718488"/>
              <a:gd name="connsiteY22" fmla="*/ 3065783 h 3099991"/>
              <a:gd name="connsiteX23" fmla="*/ 2035207 w 7718488"/>
              <a:gd name="connsiteY23" fmla="*/ 3065783 h 3099991"/>
              <a:gd name="connsiteX24" fmla="*/ 2227329 w 7718488"/>
              <a:gd name="connsiteY24" fmla="*/ 2421857 h 3099991"/>
              <a:gd name="connsiteX25" fmla="*/ 2319696 w 7718488"/>
              <a:gd name="connsiteY25" fmla="*/ 2421857 h 3099991"/>
              <a:gd name="connsiteX26" fmla="*/ 2319696 w 7718488"/>
              <a:gd name="connsiteY26" fmla="*/ 2420098 h 3099991"/>
              <a:gd name="connsiteX27" fmla="*/ 3255324 w 7718488"/>
              <a:gd name="connsiteY27" fmla="*/ 2420098 h 3099991"/>
              <a:gd name="connsiteX28" fmla="*/ 3069711 w 7718488"/>
              <a:gd name="connsiteY28" fmla="*/ 3064024 h 3099991"/>
              <a:gd name="connsiteX29" fmla="*/ 3493541 w 7718488"/>
              <a:gd name="connsiteY29" fmla="*/ 3064024 h 3099991"/>
              <a:gd name="connsiteX30" fmla="*/ 3673172 w 7718488"/>
              <a:gd name="connsiteY30" fmla="*/ 2420098 h 3099991"/>
              <a:gd name="connsiteX31" fmla="*/ 3863886 w 7718488"/>
              <a:gd name="connsiteY31" fmla="*/ 2420098 h 3099991"/>
              <a:gd name="connsiteX32" fmla="*/ 3868988 w 7718488"/>
              <a:gd name="connsiteY32" fmla="*/ 3064024 h 3099991"/>
              <a:gd name="connsiteX33" fmla="*/ 4224555 w 7718488"/>
              <a:gd name="connsiteY33" fmla="*/ 3064024 h 3099991"/>
              <a:gd name="connsiteX34" fmla="*/ 4632375 w 7718488"/>
              <a:gd name="connsiteY34" fmla="*/ 2420098 h 3099991"/>
              <a:gd name="connsiteX35" fmla="*/ 4899445 w 7718488"/>
              <a:gd name="connsiteY35" fmla="*/ 2420098 h 3099991"/>
              <a:gd name="connsiteX36" fmla="*/ 4761688 w 7718488"/>
              <a:gd name="connsiteY36" fmla="*/ 3064024 h 3099991"/>
              <a:gd name="connsiteX37" fmla="*/ 5178832 w 7718488"/>
              <a:gd name="connsiteY37" fmla="*/ 3064024 h 3099991"/>
              <a:gd name="connsiteX38" fmla="*/ 5314303 w 7718488"/>
              <a:gd name="connsiteY38" fmla="*/ 2420098 h 3099991"/>
              <a:gd name="connsiteX39" fmla="*/ 5555511 w 7718488"/>
              <a:gd name="connsiteY39" fmla="*/ 2420098 h 3099991"/>
              <a:gd name="connsiteX40" fmla="*/ 5729336 w 7718488"/>
              <a:gd name="connsiteY40" fmla="*/ 2922923 h 3099991"/>
              <a:gd name="connsiteX41" fmla="*/ 6322944 w 7718488"/>
              <a:gd name="connsiteY41" fmla="*/ 3099914 h 3099991"/>
              <a:gd name="connsiteX42" fmla="*/ 7097942 w 7718488"/>
              <a:gd name="connsiteY42" fmla="*/ 3004733 h 3099991"/>
              <a:gd name="connsiteX43" fmla="*/ 7242385 w 7718488"/>
              <a:gd name="connsiteY43" fmla="*/ 2420098 h 3099991"/>
              <a:gd name="connsiteX44" fmla="*/ 7718468 w 7718488"/>
              <a:gd name="connsiteY44" fmla="*/ 2420098 h 3099991"/>
              <a:gd name="connsiteX45" fmla="*/ 7718468 w 7718488"/>
              <a:gd name="connsiteY45" fmla="*/ -77 h 3099991"/>
              <a:gd name="connsiteX46" fmla="*/ 2089395 w 7718488"/>
              <a:gd name="connsiteY46" fmla="*/ 1492915 h 3099991"/>
              <a:gd name="connsiteX47" fmla="*/ 2064413 w 7718488"/>
              <a:gd name="connsiteY47" fmla="*/ 1575429 h 3099991"/>
              <a:gd name="connsiteX48" fmla="*/ 1836575 w 7718488"/>
              <a:gd name="connsiteY48" fmla="*/ 2333889 h 3099991"/>
              <a:gd name="connsiteX49" fmla="*/ 1827603 w 7718488"/>
              <a:gd name="connsiteY49" fmla="*/ 2360808 h 3099991"/>
              <a:gd name="connsiteX50" fmla="*/ 1078291 w 7718488"/>
              <a:gd name="connsiteY50" fmla="*/ 2360808 h 3099991"/>
              <a:gd name="connsiteX51" fmla="*/ 1019704 w 7718488"/>
              <a:gd name="connsiteY51" fmla="*/ 2237652 h 3099991"/>
              <a:gd name="connsiteX52" fmla="*/ 1827603 w 7718488"/>
              <a:gd name="connsiteY52" fmla="*/ 1411985 h 3099991"/>
              <a:gd name="connsiteX53" fmla="*/ 1308591 w 7718488"/>
              <a:gd name="connsiteY53" fmla="*/ 1411985 h 3099991"/>
              <a:gd name="connsiteX54" fmla="*/ 676805 w 7718488"/>
              <a:gd name="connsiteY54" fmla="*/ 2091274 h 3099991"/>
              <a:gd name="connsiteX55" fmla="*/ 881419 w 7718488"/>
              <a:gd name="connsiteY55" fmla="*/ 1410753 h 3099991"/>
              <a:gd name="connsiteX56" fmla="*/ 498582 w 7718488"/>
              <a:gd name="connsiteY56" fmla="*/ 1410753 h 3099991"/>
              <a:gd name="connsiteX57" fmla="*/ 498582 w 7718488"/>
              <a:gd name="connsiteY57" fmla="*/ 60972 h 3099991"/>
              <a:gd name="connsiteX58" fmla="*/ 2089395 w 7718488"/>
              <a:gd name="connsiteY58" fmla="*/ 60972 h 3099991"/>
              <a:gd name="connsiteX59" fmla="*/ 2531874 w 7718488"/>
              <a:gd name="connsiteY59" fmla="*/ 2133498 h 3099991"/>
              <a:gd name="connsiteX60" fmla="*/ 2531874 w 7718488"/>
              <a:gd name="connsiteY60" fmla="*/ 2133498 h 3099991"/>
              <a:gd name="connsiteX61" fmla="*/ 2483140 w 7718488"/>
              <a:gd name="connsiteY61" fmla="*/ 2135786 h 3099991"/>
              <a:gd name="connsiteX62" fmla="*/ 2424554 w 7718488"/>
              <a:gd name="connsiteY62" fmla="*/ 2135786 h 3099991"/>
              <a:gd name="connsiteX63" fmla="*/ 2322863 w 7718488"/>
              <a:gd name="connsiteY63" fmla="*/ 2135786 h 3099991"/>
              <a:gd name="connsiteX64" fmla="*/ 2369838 w 7718488"/>
              <a:gd name="connsiteY64" fmla="*/ 1961609 h 3099991"/>
              <a:gd name="connsiteX65" fmla="*/ 2392005 w 7718488"/>
              <a:gd name="connsiteY65" fmla="*/ 1874872 h 3099991"/>
              <a:gd name="connsiteX66" fmla="*/ 2445666 w 7718488"/>
              <a:gd name="connsiteY66" fmla="*/ 1672546 h 3099991"/>
              <a:gd name="connsiteX67" fmla="*/ 2514633 w 7718488"/>
              <a:gd name="connsiteY67" fmla="*/ 1671491 h 3099991"/>
              <a:gd name="connsiteX68" fmla="*/ 2593452 w 7718488"/>
              <a:gd name="connsiteY68" fmla="*/ 1671491 h 3099991"/>
              <a:gd name="connsiteX69" fmla="*/ 2844337 w 7718488"/>
              <a:gd name="connsiteY69" fmla="*/ 1722512 h 3099991"/>
              <a:gd name="connsiteX70" fmla="*/ 2837124 w 7718488"/>
              <a:gd name="connsiteY70" fmla="*/ 1896688 h 3099991"/>
              <a:gd name="connsiteX71" fmla="*/ 2532402 w 7718488"/>
              <a:gd name="connsiteY71" fmla="*/ 2133498 h 3099991"/>
              <a:gd name="connsiteX72" fmla="*/ 3690941 w 7718488"/>
              <a:gd name="connsiteY72" fmla="*/ 2359928 h 3099991"/>
              <a:gd name="connsiteX73" fmla="*/ 3858432 w 7718488"/>
              <a:gd name="connsiteY73" fmla="*/ 1764736 h 3099991"/>
              <a:gd name="connsiteX74" fmla="*/ 3864414 w 7718488"/>
              <a:gd name="connsiteY74" fmla="*/ 2359928 h 3099991"/>
              <a:gd name="connsiteX75" fmla="*/ 3944641 w 7718488"/>
              <a:gd name="connsiteY75" fmla="*/ 1408466 h 3099991"/>
              <a:gd name="connsiteX76" fmla="*/ 3546674 w 7718488"/>
              <a:gd name="connsiteY76" fmla="*/ 1408466 h 3099991"/>
              <a:gd name="connsiteX77" fmla="*/ 3273445 w 7718488"/>
              <a:gd name="connsiteY77" fmla="*/ 2359928 h 3099991"/>
              <a:gd name="connsiteX78" fmla="*/ 2851198 w 7718488"/>
              <a:gd name="connsiteY78" fmla="*/ 2359928 h 3099991"/>
              <a:gd name="connsiteX79" fmla="*/ 3238258 w 7718488"/>
              <a:gd name="connsiteY79" fmla="*/ 1902494 h 3099991"/>
              <a:gd name="connsiteX80" fmla="*/ 3184421 w 7718488"/>
              <a:gd name="connsiteY80" fmla="*/ 1525287 h 3099991"/>
              <a:gd name="connsiteX81" fmla="*/ 2671040 w 7718488"/>
              <a:gd name="connsiteY81" fmla="*/ 1407938 h 3099991"/>
              <a:gd name="connsiteX82" fmla="*/ 2354355 w 7718488"/>
              <a:gd name="connsiteY82" fmla="*/ 1407938 h 3099991"/>
              <a:gd name="connsiteX83" fmla="*/ 2354355 w 7718488"/>
              <a:gd name="connsiteY83" fmla="*/ 60972 h 3099991"/>
              <a:gd name="connsiteX84" fmla="*/ 3944641 w 7718488"/>
              <a:gd name="connsiteY84" fmla="*/ 60972 h 3099991"/>
              <a:gd name="connsiteX85" fmla="*/ 4912289 w 7718488"/>
              <a:gd name="connsiteY85" fmla="*/ 2359928 h 3099991"/>
              <a:gd name="connsiteX86" fmla="*/ 4672136 w 7718488"/>
              <a:gd name="connsiteY86" fmla="*/ 2359928 h 3099991"/>
              <a:gd name="connsiteX87" fmla="*/ 5035444 w 7718488"/>
              <a:gd name="connsiteY87" fmla="*/ 1789543 h 3099991"/>
              <a:gd name="connsiteX88" fmla="*/ 5801470 w 7718488"/>
              <a:gd name="connsiteY88" fmla="*/ 1435208 h 3099991"/>
              <a:gd name="connsiteX89" fmla="*/ 5800414 w 7718488"/>
              <a:gd name="connsiteY89" fmla="*/ 1764736 h 3099991"/>
              <a:gd name="connsiteX90" fmla="*/ 5588235 w 7718488"/>
              <a:gd name="connsiteY90" fmla="*/ 2220411 h 3099991"/>
              <a:gd name="connsiteX91" fmla="*/ 5563076 w 7718488"/>
              <a:gd name="connsiteY91" fmla="*/ 2359928 h 3099991"/>
              <a:gd name="connsiteX92" fmla="*/ 5329081 w 7718488"/>
              <a:gd name="connsiteY92" fmla="*/ 2359928 h 3099991"/>
              <a:gd name="connsiteX93" fmla="*/ 5528065 w 7718488"/>
              <a:gd name="connsiteY93" fmla="*/ 1410753 h 3099991"/>
              <a:gd name="connsiteX94" fmla="*/ 4854758 w 7718488"/>
              <a:gd name="connsiteY94" fmla="*/ 1410753 h 3099991"/>
              <a:gd name="connsiteX95" fmla="*/ 4252177 w 7718488"/>
              <a:gd name="connsiteY95" fmla="*/ 2360808 h 3099991"/>
              <a:gd name="connsiteX96" fmla="*/ 4208545 w 7718488"/>
              <a:gd name="connsiteY96" fmla="*/ 2360808 h 3099991"/>
              <a:gd name="connsiteX97" fmla="*/ 4208545 w 7718488"/>
              <a:gd name="connsiteY97" fmla="*/ 60972 h 3099991"/>
              <a:gd name="connsiteX98" fmla="*/ 5800766 w 7718488"/>
              <a:gd name="connsiteY98" fmla="*/ 60972 h 3099991"/>
              <a:gd name="connsiteX99" fmla="*/ 6718976 w 7718488"/>
              <a:gd name="connsiteY99" fmla="*/ 2748219 h 3099991"/>
              <a:gd name="connsiteX100" fmla="*/ 6451201 w 7718488"/>
              <a:gd name="connsiteY100" fmla="*/ 2775840 h 3099991"/>
              <a:gd name="connsiteX101" fmla="*/ 6058512 w 7718488"/>
              <a:gd name="connsiteY101" fmla="*/ 2420098 h 3099991"/>
              <a:gd name="connsiteX102" fmla="*/ 6800434 w 7718488"/>
              <a:gd name="connsiteY102" fmla="*/ 2420098 h 3099991"/>
              <a:gd name="connsiteX103" fmla="*/ 7658650 w 7718488"/>
              <a:gd name="connsiteY103" fmla="*/ 2359928 h 3099991"/>
              <a:gd name="connsiteX104" fmla="*/ 7256988 w 7718488"/>
              <a:gd name="connsiteY104" fmla="*/ 2359928 h 3099991"/>
              <a:gd name="connsiteX105" fmla="*/ 7322612 w 7718488"/>
              <a:gd name="connsiteY105" fmla="*/ 2094616 h 3099991"/>
              <a:gd name="connsiteX106" fmla="*/ 6519816 w 7718488"/>
              <a:gd name="connsiteY106" fmla="*/ 2094616 h 3099991"/>
              <a:gd name="connsiteX107" fmla="*/ 6453664 w 7718488"/>
              <a:gd name="connsiteY107" fmla="*/ 2359928 h 3099991"/>
              <a:gd name="connsiteX108" fmla="*/ 6065374 w 7718488"/>
              <a:gd name="connsiteY108" fmla="*/ 2359928 h 3099991"/>
              <a:gd name="connsiteX109" fmla="*/ 6065374 w 7718488"/>
              <a:gd name="connsiteY109" fmla="*/ 2305388 h 3099991"/>
              <a:gd name="connsiteX110" fmla="*/ 6084023 w 7718488"/>
              <a:gd name="connsiteY110" fmla="*/ 2210734 h 3099991"/>
              <a:gd name="connsiteX111" fmla="*/ 6667251 w 7718488"/>
              <a:gd name="connsiteY111" fmla="*/ 1642109 h 3099991"/>
              <a:gd name="connsiteX112" fmla="*/ 6905996 w 7718488"/>
              <a:gd name="connsiteY112" fmla="*/ 1868715 h 3099991"/>
              <a:gd name="connsiteX113" fmla="*/ 7383838 w 7718488"/>
              <a:gd name="connsiteY113" fmla="*/ 1868715 h 3099991"/>
              <a:gd name="connsiteX114" fmla="*/ 7344253 w 7718488"/>
              <a:gd name="connsiteY114" fmla="*/ 1514555 h 3099991"/>
              <a:gd name="connsiteX115" fmla="*/ 6770877 w 7718488"/>
              <a:gd name="connsiteY115" fmla="*/ 1316979 h 3099991"/>
              <a:gd name="connsiteX116" fmla="*/ 6065374 w 7718488"/>
              <a:gd name="connsiteY116" fmla="*/ 1503295 h 3099991"/>
              <a:gd name="connsiteX117" fmla="*/ 6065374 w 7718488"/>
              <a:gd name="connsiteY117" fmla="*/ 60621 h 3099991"/>
              <a:gd name="connsiteX118" fmla="*/ 7657946 w 7718488"/>
              <a:gd name="connsiteY118" fmla="*/ 60621 h 30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7718488" h="3099991">
                <a:moveTo>
                  <a:pt x="6005027" y="-77"/>
                </a:moveTo>
                <a:lnTo>
                  <a:pt x="6005027" y="1546752"/>
                </a:lnTo>
                <a:cubicBezTo>
                  <a:pt x="5953197" y="1588097"/>
                  <a:pt x="5905324" y="1634157"/>
                  <a:pt x="5861992" y="1684334"/>
                </a:cubicBezTo>
                <a:lnTo>
                  <a:pt x="5861992" y="-77"/>
                </a:lnTo>
                <a:lnTo>
                  <a:pt x="4148727" y="-77"/>
                </a:lnTo>
                <a:lnTo>
                  <a:pt x="4148727" y="1408466"/>
                </a:lnTo>
                <a:lnTo>
                  <a:pt x="4006746" y="1408466"/>
                </a:lnTo>
                <a:lnTo>
                  <a:pt x="4006746" y="-77"/>
                </a:lnTo>
                <a:lnTo>
                  <a:pt x="2292953" y="-77"/>
                </a:lnTo>
                <a:lnTo>
                  <a:pt x="2292953" y="1410753"/>
                </a:lnTo>
                <a:lnTo>
                  <a:pt x="2151149" y="1410753"/>
                </a:lnTo>
                <a:lnTo>
                  <a:pt x="2151149" y="-77"/>
                </a:lnTo>
                <a:lnTo>
                  <a:pt x="437180" y="-77"/>
                </a:lnTo>
                <a:lnTo>
                  <a:pt x="437180" y="1607802"/>
                </a:lnTo>
                <a:lnTo>
                  <a:pt x="-21" y="3065783"/>
                </a:lnTo>
                <a:lnTo>
                  <a:pt x="384575" y="3065783"/>
                </a:lnTo>
                <a:lnTo>
                  <a:pt x="578105" y="2420098"/>
                </a:lnTo>
                <a:lnTo>
                  <a:pt x="633701" y="2420098"/>
                </a:lnTo>
                <a:lnTo>
                  <a:pt x="952673" y="3065783"/>
                </a:lnTo>
                <a:lnTo>
                  <a:pt x="1417144" y="3065783"/>
                </a:lnTo>
                <a:lnTo>
                  <a:pt x="1107496" y="2420098"/>
                </a:lnTo>
                <a:lnTo>
                  <a:pt x="1809657" y="2420098"/>
                </a:lnTo>
                <a:lnTo>
                  <a:pt x="1614896" y="3065783"/>
                </a:lnTo>
                <a:lnTo>
                  <a:pt x="2035207" y="3065783"/>
                </a:lnTo>
                <a:lnTo>
                  <a:pt x="2227329" y="2421857"/>
                </a:lnTo>
                <a:lnTo>
                  <a:pt x="2319696" y="2421857"/>
                </a:lnTo>
                <a:lnTo>
                  <a:pt x="2319696" y="2420098"/>
                </a:lnTo>
                <a:lnTo>
                  <a:pt x="3255324" y="2420098"/>
                </a:lnTo>
                <a:lnTo>
                  <a:pt x="3069711" y="3064024"/>
                </a:lnTo>
                <a:lnTo>
                  <a:pt x="3493541" y="3064024"/>
                </a:lnTo>
                <a:lnTo>
                  <a:pt x="3673172" y="2420098"/>
                </a:lnTo>
                <a:lnTo>
                  <a:pt x="3863886" y="2420098"/>
                </a:lnTo>
                <a:lnTo>
                  <a:pt x="3868988" y="3064024"/>
                </a:lnTo>
                <a:lnTo>
                  <a:pt x="4224555" y="3064024"/>
                </a:lnTo>
                <a:lnTo>
                  <a:pt x="4632375" y="2420098"/>
                </a:lnTo>
                <a:lnTo>
                  <a:pt x="4899445" y="2420098"/>
                </a:lnTo>
                <a:lnTo>
                  <a:pt x="4761688" y="3064024"/>
                </a:lnTo>
                <a:lnTo>
                  <a:pt x="5178832" y="3064024"/>
                </a:lnTo>
                <a:lnTo>
                  <a:pt x="5314303" y="2420098"/>
                </a:lnTo>
                <a:lnTo>
                  <a:pt x="5555511" y="2420098"/>
                </a:lnTo>
                <a:cubicBezTo>
                  <a:pt x="5546010" y="2619609"/>
                  <a:pt x="5597032" y="2800999"/>
                  <a:pt x="5729336" y="2922923"/>
                </a:cubicBezTo>
                <a:cubicBezTo>
                  <a:pt x="5891197" y="3071413"/>
                  <a:pt x="6139091" y="3099914"/>
                  <a:pt x="6322944" y="3099914"/>
                </a:cubicBezTo>
                <a:cubicBezTo>
                  <a:pt x="6583998" y="3096836"/>
                  <a:pt x="6843908" y="3064903"/>
                  <a:pt x="7097942" y="3004733"/>
                </a:cubicBezTo>
                <a:lnTo>
                  <a:pt x="7242385" y="2420098"/>
                </a:lnTo>
                <a:lnTo>
                  <a:pt x="7718468" y="2420098"/>
                </a:lnTo>
                <a:lnTo>
                  <a:pt x="7718468" y="-77"/>
                </a:lnTo>
                <a:close/>
                <a:moveTo>
                  <a:pt x="2089395" y="1492915"/>
                </a:moveTo>
                <a:lnTo>
                  <a:pt x="2064413" y="1575429"/>
                </a:lnTo>
                <a:lnTo>
                  <a:pt x="1836575" y="2333889"/>
                </a:lnTo>
                <a:lnTo>
                  <a:pt x="1827603" y="2360808"/>
                </a:lnTo>
                <a:lnTo>
                  <a:pt x="1078291" y="2360808"/>
                </a:lnTo>
                <a:lnTo>
                  <a:pt x="1019704" y="2237652"/>
                </a:lnTo>
                <a:lnTo>
                  <a:pt x="1827603" y="1411985"/>
                </a:lnTo>
                <a:lnTo>
                  <a:pt x="1308591" y="1411985"/>
                </a:lnTo>
                <a:lnTo>
                  <a:pt x="676805" y="2091274"/>
                </a:lnTo>
                <a:lnTo>
                  <a:pt x="881419" y="1410753"/>
                </a:lnTo>
                <a:lnTo>
                  <a:pt x="498582" y="1410753"/>
                </a:lnTo>
                <a:lnTo>
                  <a:pt x="498582" y="60972"/>
                </a:lnTo>
                <a:lnTo>
                  <a:pt x="2089395" y="60972"/>
                </a:lnTo>
                <a:close/>
                <a:moveTo>
                  <a:pt x="2531874" y="2133498"/>
                </a:moveTo>
                <a:lnTo>
                  <a:pt x="2531874" y="2133498"/>
                </a:lnTo>
                <a:cubicBezTo>
                  <a:pt x="2516568" y="2133498"/>
                  <a:pt x="2500910" y="2135786"/>
                  <a:pt x="2483140" y="2135786"/>
                </a:cubicBezTo>
                <a:cubicBezTo>
                  <a:pt x="2459741" y="2135786"/>
                  <a:pt x="2441795" y="2135786"/>
                  <a:pt x="2424554" y="2135786"/>
                </a:cubicBezTo>
                <a:lnTo>
                  <a:pt x="2322863" y="2135786"/>
                </a:lnTo>
                <a:lnTo>
                  <a:pt x="2369838" y="1961609"/>
                </a:lnTo>
                <a:lnTo>
                  <a:pt x="2392005" y="1874872"/>
                </a:lnTo>
                <a:lnTo>
                  <a:pt x="2445666" y="1672546"/>
                </a:lnTo>
                <a:cubicBezTo>
                  <a:pt x="2469417" y="1672546"/>
                  <a:pt x="2492465" y="1671491"/>
                  <a:pt x="2514633" y="1671491"/>
                </a:cubicBezTo>
                <a:lnTo>
                  <a:pt x="2593452" y="1671491"/>
                </a:lnTo>
                <a:cubicBezTo>
                  <a:pt x="2728219" y="1671491"/>
                  <a:pt x="2813372" y="1679231"/>
                  <a:pt x="2844337" y="1722512"/>
                </a:cubicBezTo>
                <a:cubicBezTo>
                  <a:pt x="2867912" y="1755060"/>
                  <a:pt x="2865097" y="1811360"/>
                  <a:pt x="2837124" y="1896688"/>
                </a:cubicBezTo>
                <a:cubicBezTo>
                  <a:pt x="2788917" y="2043771"/>
                  <a:pt x="2728219" y="2118544"/>
                  <a:pt x="2532402" y="2133498"/>
                </a:cubicBezTo>
                <a:moveTo>
                  <a:pt x="3690941" y="2359928"/>
                </a:moveTo>
                <a:lnTo>
                  <a:pt x="3858432" y="1764736"/>
                </a:lnTo>
                <a:lnTo>
                  <a:pt x="3864414" y="2359928"/>
                </a:lnTo>
                <a:close/>
                <a:moveTo>
                  <a:pt x="3944641" y="1408466"/>
                </a:moveTo>
                <a:lnTo>
                  <a:pt x="3546674" y="1408466"/>
                </a:lnTo>
                <a:lnTo>
                  <a:pt x="3273445" y="2359928"/>
                </a:lnTo>
                <a:lnTo>
                  <a:pt x="2851198" y="2359928"/>
                </a:lnTo>
                <a:cubicBezTo>
                  <a:pt x="3066368" y="2280229"/>
                  <a:pt x="3197265" y="2128220"/>
                  <a:pt x="3238258" y="1902494"/>
                </a:cubicBezTo>
                <a:cubicBezTo>
                  <a:pt x="3271685" y="1726558"/>
                  <a:pt x="3255851" y="1611672"/>
                  <a:pt x="3184421" y="1525287"/>
                </a:cubicBezTo>
                <a:cubicBezTo>
                  <a:pt x="3077100" y="1396854"/>
                  <a:pt x="2861931" y="1407938"/>
                  <a:pt x="2671040" y="1407938"/>
                </a:cubicBezTo>
                <a:lnTo>
                  <a:pt x="2354355" y="1407938"/>
                </a:lnTo>
                <a:lnTo>
                  <a:pt x="2354355" y="60972"/>
                </a:lnTo>
                <a:lnTo>
                  <a:pt x="3944641" y="60972"/>
                </a:lnTo>
                <a:close/>
                <a:moveTo>
                  <a:pt x="4912289" y="2359928"/>
                </a:moveTo>
                <a:lnTo>
                  <a:pt x="4672136" y="2359928"/>
                </a:lnTo>
                <a:lnTo>
                  <a:pt x="5035444" y="1789543"/>
                </a:lnTo>
                <a:close/>
                <a:moveTo>
                  <a:pt x="5801470" y="1435208"/>
                </a:moveTo>
                <a:lnTo>
                  <a:pt x="5800414" y="1764736"/>
                </a:lnTo>
                <a:cubicBezTo>
                  <a:pt x="5701327" y="1901738"/>
                  <a:pt x="5629298" y="2056403"/>
                  <a:pt x="5588235" y="2220411"/>
                </a:cubicBezTo>
                <a:cubicBezTo>
                  <a:pt x="5576254" y="2266189"/>
                  <a:pt x="5567844" y="2312847"/>
                  <a:pt x="5563076" y="2359928"/>
                </a:cubicBezTo>
                <a:lnTo>
                  <a:pt x="5329081" y="2359928"/>
                </a:lnTo>
                <a:lnTo>
                  <a:pt x="5528065" y="1410753"/>
                </a:lnTo>
                <a:lnTo>
                  <a:pt x="4854758" y="1410753"/>
                </a:lnTo>
                <a:lnTo>
                  <a:pt x="4252177" y="2360808"/>
                </a:lnTo>
                <a:lnTo>
                  <a:pt x="4208545" y="2360808"/>
                </a:lnTo>
                <a:lnTo>
                  <a:pt x="4208545" y="60972"/>
                </a:lnTo>
                <a:lnTo>
                  <a:pt x="5800766" y="60972"/>
                </a:lnTo>
                <a:close/>
                <a:moveTo>
                  <a:pt x="6718976" y="2748219"/>
                </a:moveTo>
                <a:cubicBezTo>
                  <a:pt x="6630709" y="2765355"/>
                  <a:pt x="6541104" y="2774591"/>
                  <a:pt x="6451201" y="2775840"/>
                </a:cubicBezTo>
                <a:cubicBezTo>
                  <a:pt x="6221605" y="2775840"/>
                  <a:pt x="6061855" y="2669047"/>
                  <a:pt x="6058512" y="2420098"/>
                </a:cubicBezTo>
                <a:lnTo>
                  <a:pt x="6800434" y="2420098"/>
                </a:lnTo>
                <a:close/>
                <a:moveTo>
                  <a:pt x="7658650" y="2359928"/>
                </a:moveTo>
                <a:lnTo>
                  <a:pt x="7256988" y="2359928"/>
                </a:lnTo>
                <a:lnTo>
                  <a:pt x="7322612" y="2094616"/>
                </a:lnTo>
                <a:lnTo>
                  <a:pt x="6519816" y="2094616"/>
                </a:lnTo>
                <a:lnTo>
                  <a:pt x="6453664" y="2359928"/>
                </a:lnTo>
                <a:lnTo>
                  <a:pt x="6065374" y="2359928"/>
                </a:lnTo>
                <a:lnTo>
                  <a:pt x="6065374" y="2305388"/>
                </a:lnTo>
                <a:cubicBezTo>
                  <a:pt x="6071355" y="2275479"/>
                  <a:pt x="6076458" y="2244162"/>
                  <a:pt x="6084023" y="2210734"/>
                </a:cubicBezTo>
                <a:cubicBezTo>
                  <a:pt x="6154397" y="1924662"/>
                  <a:pt x="6342648" y="1642109"/>
                  <a:pt x="6667251" y="1642109"/>
                </a:cubicBezTo>
                <a:cubicBezTo>
                  <a:pt x="6795684" y="1642109"/>
                  <a:pt x="6923413" y="1691019"/>
                  <a:pt x="6905996" y="1868715"/>
                </a:cubicBezTo>
                <a:lnTo>
                  <a:pt x="7383838" y="1868715"/>
                </a:lnTo>
                <a:cubicBezTo>
                  <a:pt x="7402839" y="1785849"/>
                  <a:pt x="7434332" y="1644572"/>
                  <a:pt x="7344253" y="1514555"/>
                </a:cubicBezTo>
                <a:cubicBezTo>
                  <a:pt x="7242385" y="1373807"/>
                  <a:pt x="7037244" y="1316979"/>
                  <a:pt x="6770877" y="1316979"/>
                </a:cubicBezTo>
                <a:cubicBezTo>
                  <a:pt x="6581570" y="1316979"/>
                  <a:pt x="6304647" y="1347240"/>
                  <a:pt x="6065374" y="1503295"/>
                </a:cubicBezTo>
                <a:lnTo>
                  <a:pt x="6065374" y="60621"/>
                </a:lnTo>
                <a:lnTo>
                  <a:pt x="7657946" y="60621"/>
                </a:lnTo>
                <a:close/>
              </a:path>
            </a:pathLst>
          </a:custGeom>
          <a:solidFill>
            <a:srgbClr val="FCEAE7"/>
          </a:solidFill>
          <a:ln w="1757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220408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FINAL SLIDE">
    <p:bg>
      <p:bgPr>
        <a:gradFill>
          <a:gsLst>
            <a:gs pos="0">
              <a:srgbClr val="7213EA"/>
            </a:gs>
            <a:gs pos="100000">
              <a:srgbClr val="1F4AE3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raphic 6">
            <a:extLst>
              <a:ext uri="{FF2B5EF4-FFF2-40B4-BE49-F238E27FC236}">
                <a16:creationId xmlns:a16="http://schemas.microsoft.com/office/drawing/2014/main" id="{248485D9-C9C0-4687-AA25-7A69FB015CB9}"/>
              </a:ext>
            </a:extLst>
          </p:cNvPr>
          <p:cNvSpPr/>
          <p:nvPr/>
        </p:nvSpPr>
        <p:spPr>
          <a:xfrm>
            <a:off x="2234933" y="1882443"/>
            <a:ext cx="7718488" cy="3099991"/>
          </a:xfrm>
          <a:custGeom>
            <a:avLst/>
            <a:gdLst>
              <a:gd name="connsiteX0" fmla="*/ 6005027 w 7718488"/>
              <a:gd name="connsiteY0" fmla="*/ -77 h 3099991"/>
              <a:gd name="connsiteX1" fmla="*/ 6005027 w 7718488"/>
              <a:gd name="connsiteY1" fmla="*/ 1546752 h 3099991"/>
              <a:gd name="connsiteX2" fmla="*/ 5861992 w 7718488"/>
              <a:gd name="connsiteY2" fmla="*/ 1684334 h 3099991"/>
              <a:gd name="connsiteX3" fmla="*/ 5861992 w 7718488"/>
              <a:gd name="connsiteY3" fmla="*/ -77 h 3099991"/>
              <a:gd name="connsiteX4" fmla="*/ 4148727 w 7718488"/>
              <a:gd name="connsiteY4" fmla="*/ -77 h 3099991"/>
              <a:gd name="connsiteX5" fmla="*/ 4148727 w 7718488"/>
              <a:gd name="connsiteY5" fmla="*/ 1408466 h 3099991"/>
              <a:gd name="connsiteX6" fmla="*/ 4006746 w 7718488"/>
              <a:gd name="connsiteY6" fmla="*/ 1408466 h 3099991"/>
              <a:gd name="connsiteX7" fmla="*/ 4006746 w 7718488"/>
              <a:gd name="connsiteY7" fmla="*/ -77 h 3099991"/>
              <a:gd name="connsiteX8" fmla="*/ 2292953 w 7718488"/>
              <a:gd name="connsiteY8" fmla="*/ -77 h 3099991"/>
              <a:gd name="connsiteX9" fmla="*/ 2292953 w 7718488"/>
              <a:gd name="connsiteY9" fmla="*/ 1410753 h 3099991"/>
              <a:gd name="connsiteX10" fmla="*/ 2151149 w 7718488"/>
              <a:gd name="connsiteY10" fmla="*/ 1410753 h 3099991"/>
              <a:gd name="connsiteX11" fmla="*/ 2151149 w 7718488"/>
              <a:gd name="connsiteY11" fmla="*/ -77 h 3099991"/>
              <a:gd name="connsiteX12" fmla="*/ 437180 w 7718488"/>
              <a:gd name="connsiteY12" fmla="*/ -77 h 3099991"/>
              <a:gd name="connsiteX13" fmla="*/ 437180 w 7718488"/>
              <a:gd name="connsiteY13" fmla="*/ 1607802 h 3099991"/>
              <a:gd name="connsiteX14" fmla="*/ -21 w 7718488"/>
              <a:gd name="connsiteY14" fmla="*/ 3065783 h 3099991"/>
              <a:gd name="connsiteX15" fmla="*/ 384575 w 7718488"/>
              <a:gd name="connsiteY15" fmla="*/ 3065783 h 3099991"/>
              <a:gd name="connsiteX16" fmla="*/ 578105 w 7718488"/>
              <a:gd name="connsiteY16" fmla="*/ 2420098 h 3099991"/>
              <a:gd name="connsiteX17" fmla="*/ 633701 w 7718488"/>
              <a:gd name="connsiteY17" fmla="*/ 2420098 h 3099991"/>
              <a:gd name="connsiteX18" fmla="*/ 952673 w 7718488"/>
              <a:gd name="connsiteY18" fmla="*/ 3065783 h 3099991"/>
              <a:gd name="connsiteX19" fmla="*/ 1417144 w 7718488"/>
              <a:gd name="connsiteY19" fmla="*/ 3065783 h 3099991"/>
              <a:gd name="connsiteX20" fmla="*/ 1107496 w 7718488"/>
              <a:gd name="connsiteY20" fmla="*/ 2420098 h 3099991"/>
              <a:gd name="connsiteX21" fmla="*/ 1809657 w 7718488"/>
              <a:gd name="connsiteY21" fmla="*/ 2420098 h 3099991"/>
              <a:gd name="connsiteX22" fmla="*/ 1614896 w 7718488"/>
              <a:gd name="connsiteY22" fmla="*/ 3065783 h 3099991"/>
              <a:gd name="connsiteX23" fmla="*/ 2035207 w 7718488"/>
              <a:gd name="connsiteY23" fmla="*/ 3065783 h 3099991"/>
              <a:gd name="connsiteX24" fmla="*/ 2227329 w 7718488"/>
              <a:gd name="connsiteY24" fmla="*/ 2421857 h 3099991"/>
              <a:gd name="connsiteX25" fmla="*/ 2319696 w 7718488"/>
              <a:gd name="connsiteY25" fmla="*/ 2421857 h 3099991"/>
              <a:gd name="connsiteX26" fmla="*/ 2319696 w 7718488"/>
              <a:gd name="connsiteY26" fmla="*/ 2420098 h 3099991"/>
              <a:gd name="connsiteX27" fmla="*/ 3255324 w 7718488"/>
              <a:gd name="connsiteY27" fmla="*/ 2420098 h 3099991"/>
              <a:gd name="connsiteX28" fmla="*/ 3069711 w 7718488"/>
              <a:gd name="connsiteY28" fmla="*/ 3064024 h 3099991"/>
              <a:gd name="connsiteX29" fmla="*/ 3493541 w 7718488"/>
              <a:gd name="connsiteY29" fmla="*/ 3064024 h 3099991"/>
              <a:gd name="connsiteX30" fmla="*/ 3673172 w 7718488"/>
              <a:gd name="connsiteY30" fmla="*/ 2420098 h 3099991"/>
              <a:gd name="connsiteX31" fmla="*/ 3863886 w 7718488"/>
              <a:gd name="connsiteY31" fmla="*/ 2420098 h 3099991"/>
              <a:gd name="connsiteX32" fmla="*/ 3868988 w 7718488"/>
              <a:gd name="connsiteY32" fmla="*/ 3064024 h 3099991"/>
              <a:gd name="connsiteX33" fmla="*/ 4224555 w 7718488"/>
              <a:gd name="connsiteY33" fmla="*/ 3064024 h 3099991"/>
              <a:gd name="connsiteX34" fmla="*/ 4632375 w 7718488"/>
              <a:gd name="connsiteY34" fmla="*/ 2420098 h 3099991"/>
              <a:gd name="connsiteX35" fmla="*/ 4899445 w 7718488"/>
              <a:gd name="connsiteY35" fmla="*/ 2420098 h 3099991"/>
              <a:gd name="connsiteX36" fmla="*/ 4761688 w 7718488"/>
              <a:gd name="connsiteY36" fmla="*/ 3064024 h 3099991"/>
              <a:gd name="connsiteX37" fmla="*/ 5178832 w 7718488"/>
              <a:gd name="connsiteY37" fmla="*/ 3064024 h 3099991"/>
              <a:gd name="connsiteX38" fmla="*/ 5314303 w 7718488"/>
              <a:gd name="connsiteY38" fmla="*/ 2420098 h 3099991"/>
              <a:gd name="connsiteX39" fmla="*/ 5555511 w 7718488"/>
              <a:gd name="connsiteY39" fmla="*/ 2420098 h 3099991"/>
              <a:gd name="connsiteX40" fmla="*/ 5729336 w 7718488"/>
              <a:gd name="connsiteY40" fmla="*/ 2922923 h 3099991"/>
              <a:gd name="connsiteX41" fmla="*/ 6322944 w 7718488"/>
              <a:gd name="connsiteY41" fmla="*/ 3099914 h 3099991"/>
              <a:gd name="connsiteX42" fmla="*/ 7097942 w 7718488"/>
              <a:gd name="connsiteY42" fmla="*/ 3004733 h 3099991"/>
              <a:gd name="connsiteX43" fmla="*/ 7242385 w 7718488"/>
              <a:gd name="connsiteY43" fmla="*/ 2420098 h 3099991"/>
              <a:gd name="connsiteX44" fmla="*/ 7718468 w 7718488"/>
              <a:gd name="connsiteY44" fmla="*/ 2420098 h 3099991"/>
              <a:gd name="connsiteX45" fmla="*/ 7718468 w 7718488"/>
              <a:gd name="connsiteY45" fmla="*/ -77 h 3099991"/>
              <a:gd name="connsiteX46" fmla="*/ 2089395 w 7718488"/>
              <a:gd name="connsiteY46" fmla="*/ 1492915 h 3099991"/>
              <a:gd name="connsiteX47" fmla="*/ 2064413 w 7718488"/>
              <a:gd name="connsiteY47" fmla="*/ 1575429 h 3099991"/>
              <a:gd name="connsiteX48" fmla="*/ 1836575 w 7718488"/>
              <a:gd name="connsiteY48" fmla="*/ 2333889 h 3099991"/>
              <a:gd name="connsiteX49" fmla="*/ 1827603 w 7718488"/>
              <a:gd name="connsiteY49" fmla="*/ 2360808 h 3099991"/>
              <a:gd name="connsiteX50" fmla="*/ 1078291 w 7718488"/>
              <a:gd name="connsiteY50" fmla="*/ 2360808 h 3099991"/>
              <a:gd name="connsiteX51" fmla="*/ 1019704 w 7718488"/>
              <a:gd name="connsiteY51" fmla="*/ 2237652 h 3099991"/>
              <a:gd name="connsiteX52" fmla="*/ 1827603 w 7718488"/>
              <a:gd name="connsiteY52" fmla="*/ 1411985 h 3099991"/>
              <a:gd name="connsiteX53" fmla="*/ 1308591 w 7718488"/>
              <a:gd name="connsiteY53" fmla="*/ 1411985 h 3099991"/>
              <a:gd name="connsiteX54" fmla="*/ 676805 w 7718488"/>
              <a:gd name="connsiteY54" fmla="*/ 2091274 h 3099991"/>
              <a:gd name="connsiteX55" fmla="*/ 881419 w 7718488"/>
              <a:gd name="connsiteY55" fmla="*/ 1410753 h 3099991"/>
              <a:gd name="connsiteX56" fmla="*/ 498582 w 7718488"/>
              <a:gd name="connsiteY56" fmla="*/ 1410753 h 3099991"/>
              <a:gd name="connsiteX57" fmla="*/ 498582 w 7718488"/>
              <a:gd name="connsiteY57" fmla="*/ 60972 h 3099991"/>
              <a:gd name="connsiteX58" fmla="*/ 2089395 w 7718488"/>
              <a:gd name="connsiteY58" fmla="*/ 60972 h 3099991"/>
              <a:gd name="connsiteX59" fmla="*/ 2531874 w 7718488"/>
              <a:gd name="connsiteY59" fmla="*/ 2133498 h 3099991"/>
              <a:gd name="connsiteX60" fmla="*/ 2531874 w 7718488"/>
              <a:gd name="connsiteY60" fmla="*/ 2133498 h 3099991"/>
              <a:gd name="connsiteX61" fmla="*/ 2483140 w 7718488"/>
              <a:gd name="connsiteY61" fmla="*/ 2135786 h 3099991"/>
              <a:gd name="connsiteX62" fmla="*/ 2424554 w 7718488"/>
              <a:gd name="connsiteY62" fmla="*/ 2135786 h 3099991"/>
              <a:gd name="connsiteX63" fmla="*/ 2322863 w 7718488"/>
              <a:gd name="connsiteY63" fmla="*/ 2135786 h 3099991"/>
              <a:gd name="connsiteX64" fmla="*/ 2369838 w 7718488"/>
              <a:gd name="connsiteY64" fmla="*/ 1961609 h 3099991"/>
              <a:gd name="connsiteX65" fmla="*/ 2392005 w 7718488"/>
              <a:gd name="connsiteY65" fmla="*/ 1874872 h 3099991"/>
              <a:gd name="connsiteX66" fmla="*/ 2445666 w 7718488"/>
              <a:gd name="connsiteY66" fmla="*/ 1672546 h 3099991"/>
              <a:gd name="connsiteX67" fmla="*/ 2514633 w 7718488"/>
              <a:gd name="connsiteY67" fmla="*/ 1671491 h 3099991"/>
              <a:gd name="connsiteX68" fmla="*/ 2593452 w 7718488"/>
              <a:gd name="connsiteY68" fmla="*/ 1671491 h 3099991"/>
              <a:gd name="connsiteX69" fmla="*/ 2844337 w 7718488"/>
              <a:gd name="connsiteY69" fmla="*/ 1722512 h 3099991"/>
              <a:gd name="connsiteX70" fmla="*/ 2837124 w 7718488"/>
              <a:gd name="connsiteY70" fmla="*/ 1896688 h 3099991"/>
              <a:gd name="connsiteX71" fmla="*/ 2532402 w 7718488"/>
              <a:gd name="connsiteY71" fmla="*/ 2133498 h 3099991"/>
              <a:gd name="connsiteX72" fmla="*/ 3690941 w 7718488"/>
              <a:gd name="connsiteY72" fmla="*/ 2359928 h 3099991"/>
              <a:gd name="connsiteX73" fmla="*/ 3858432 w 7718488"/>
              <a:gd name="connsiteY73" fmla="*/ 1764736 h 3099991"/>
              <a:gd name="connsiteX74" fmla="*/ 3864414 w 7718488"/>
              <a:gd name="connsiteY74" fmla="*/ 2359928 h 3099991"/>
              <a:gd name="connsiteX75" fmla="*/ 3944641 w 7718488"/>
              <a:gd name="connsiteY75" fmla="*/ 1408466 h 3099991"/>
              <a:gd name="connsiteX76" fmla="*/ 3546674 w 7718488"/>
              <a:gd name="connsiteY76" fmla="*/ 1408466 h 3099991"/>
              <a:gd name="connsiteX77" fmla="*/ 3273445 w 7718488"/>
              <a:gd name="connsiteY77" fmla="*/ 2359928 h 3099991"/>
              <a:gd name="connsiteX78" fmla="*/ 2851198 w 7718488"/>
              <a:gd name="connsiteY78" fmla="*/ 2359928 h 3099991"/>
              <a:gd name="connsiteX79" fmla="*/ 3238258 w 7718488"/>
              <a:gd name="connsiteY79" fmla="*/ 1902494 h 3099991"/>
              <a:gd name="connsiteX80" fmla="*/ 3184421 w 7718488"/>
              <a:gd name="connsiteY80" fmla="*/ 1525287 h 3099991"/>
              <a:gd name="connsiteX81" fmla="*/ 2671040 w 7718488"/>
              <a:gd name="connsiteY81" fmla="*/ 1407938 h 3099991"/>
              <a:gd name="connsiteX82" fmla="*/ 2354355 w 7718488"/>
              <a:gd name="connsiteY82" fmla="*/ 1407938 h 3099991"/>
              <a:gd name="connsiteX83" fmla="*/ 2354355 w 7718488"/>
              <a:gd name="connsiteY83" fmla="*/ 60972 h 3099991"/>
              <a:gd name="connsiteX84" fmla="*/ 3944641 w 7718488"/>
              <a:gd name="connsiteY84" fmla="*/ 60972 h 3099991"/>
              <a:gd name="connsiteX85" fmla="*/ 4912289 w 7718488"/>
              <a:gd name="connsiteY85" fmla="*/ 2359928 h 3099991"/>
              <a:gd name="connsiteX86" fmla="*/ 4672136 w 7718488"/>
              <a:gd name="connsiteY86" fmla="*/ 2359928 h 3099991"/>
              <a:gd name="connsiteX87" fmla="*/ 5035444 w 7718488"/>
              <a:gd name="connsiteY87" fmla="*/ 1789543 h 3099991"/>
              <a:gd name="connsiteX88" fmla="*/ 5801470 w 7718488"/>
              <a:gd name="connsiteY88" fmla="*/ 1435208 h 3099991"/>
              <a:gd name="connsiteX89" fmla="*/ 5800414 w 7718488"/>
              <a:gd name="connsiteY89" fmla="*/ 1764736 h 3099991"/>
              <a:gd name="connsiteX90" fmla="*/ 5588235 w 7718488"/>
              <a:gd name="connsiteY90" fmla="*/ 2220411 h 3099991"/>
              <a:gd name="connsiteX91" fmla="*/ 5563076 w 7718488"/>
              <a:gd name="connsiteY91" fmla="*/ 2359928 h 3099991"/>
              <a:gd name="connsiteX92" fmla="*/ 5329081 w 7718488"/>
              <a:gd name="connsiteY92" fmla="*/ 2359928 h 3099991"/>
              <a:gd name="connsiteX93" fmla="*/ 5528065 w 7718488"/>
              <a:gd name="connsiteY93" fmla="*/ 1410753 h 3099991"/>
              <a:gd name="connsiteX94" fmla="*/ 4854758 w 7718488"/>
              <a:gd name="connsiteY94" fmla="*/ 1410753 h 3099991"/>
              <a:gd name="connsiteX95" fmla="*/ 4252177 w 7718488"/>
              <a:gd name="connsiteY95" fmla="*/ 2360808 h 3099991"/>
              <a:gd name="connsiteX96" fmla="*/ 4208545 w 7718488"/>
              <a:gd name="connsiteY96" fmla="*/ 2360808 h 3099991"/>
              <a:gd name="connsiteX97" fmla="*/ 4208545 w 7718488"/>
              <a:gd name="connsiteY97" fmla="*/ 60972 h 3099991"/>
              <a:gd name="connsiteX98" fmla="*/ 5800766 w 7718488"/>
              <a:gd name="connsiteY98" fmla="*/ 60972 h 3099991"/>
              <a:gd name="connsiteX99" fmla="*/ 6718976 w 7718488"/>
              <a:gd name="connsiteY99" fmla="*/ 2748219 h 3099991"/>
              <a:gd name="connsiteX100" fmla="*/ 6451201 w 7718488"/>
              <a:gd name="connsiteY100" fmla="*/ 2775840 h 3099991"/>
              <a:gd name="connsiteX101" fmla="*/ 6058512 w 7718488"/>
              <a:gd name="connsiteY101" fmla="*/ 2420098 h 3099991"/>
              <a:gd name="connsiteX102" fmla="*/ 6800434 w 7718488"/>
              <a:gd name="connsiteY102" fmla="*/ 2420098 h 3099991"/>
              <a:gd name="connsiteX103" fmla="*/ 7658650 w 7718488"/>
              <a:gd name="connsiteY103" fmla="*/ 2359928 h 3099991"/>
              <a:gd name="connsiteX104" fmla="*/ 7256988 w 7718488"/>
              <a:gd name="connsiteY104" fmla="*/ 2359928 h 3099991"/>
              <a:gd name="connsiteX105" fmla="*/ 7322612 w 7718488"/>
              <a:gd name="connsiteY105" fmla="*/ 2094616 h 3099991"/>
              <a:gd name="connsiteX106" fmla="*/ 6519816 w 7718488"/>
              <a:gd name="connsiteY106" fmla="*/ 2094616 h 3099991"/>
              <a:gd name="connsiteX107" fmla="*/ 6453664 w 7718488"/>
              <a:gd name="connsiteY107" fmla="*/ 2359928 h 3099991"/>
              <a:gd name="connsiteX108" fmla="*/ 6065374 w 7718488"/>
              <a:gd name="connsiteY108" fmla="*/ 2359928 h 3099991"/>
              <a:gd name="connsiteX109" fmla="*/ 6065374 w 7718488"/>
              <a:gd name="connsiteY109" fmla="*/ 2305388 h 3099991"/>
              <a:gd name="connsiteX110" fmla="*/ 6084023 w 7718488"/>
              <a:gd name="connsiteY110" fmla="*/ 2210734 h 3099991"/>
              <a:gd name="connsiteX111" fmla="*/ 6667251 w 7718488"/>
              <a:gd name="connsiteY111" fmla="*/ 1642109 h 3099991"/>
              <a:gd name="connsiteX112" fmla="*/ 6905996 w 7718488"/>
              <a:gd name="connsiteY112" fmla="*/ 1868715 h 3099991"/>
              <a:gd name="connsiteX113" fmla="*/ 7383838 w 7718488"/>
              <a:gd name="connsiteY113" fmla="*/ 1868715 h 3099991"/>
              <a:gd name="connsiteX114" fmla="*/ 7344253 w 7718488"/>
              <a:gd name="connsiteY114" fmla="*/ 1514555 h 3099991"/>
              <a:gd name="connsiteX115" fmla="*/ 6770877 w 7718488"/>
              <a:gd name="connsiteY115" fmla="*/ 1316979 h 3099991"/>
              <a:gd name="connsiteX116" fmla="*/ 6065374 w 7718488"/>
              <a:gd name="connsiteY116" fmla="*/ 1503295 h 3099991"/>
              <a:gd name="connsiteX117" fmla="*/ 6065374 w 7718488"/>
              <a:gd name="connsiteY117" fmla="*/ 60621 h 3099991"/>
              <a:gd name="connsiteX118" fmla="*/ 7657946 w 7718488"/>
              <a:gd name="connsiteY118" fmla="*/ 60621 h 30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7718488" h="3099991">
                <a:moveTo>
                  <a:pt x="6005027" y="-77"/>
                </a:moveTo>
                <a:lnTo>
                  <a:pt x="6005027" y="1546752"/>
                </a:lnTo>
                <a:cubicBezTo>
                  <a:pt x="5953197" y="1588097"/>
                  <a:pt x="5905324" y="1634157"/>
                  <a:pt x="5861992" y="1684334"/>
                </a:cubicBezTo>
                <a:lnTo>
                  <a:pt x="5861992" y="-77"/>
                </a:lnTo>
                <a:lnTo>
                  <a:pt x="4148727" y="-77"/>
                </a:lnTo>
                <a:lnTo>
                  <a:pt x="4148727" y="1408466"/>
                </a:lnTo>
                <a:lnTo>
                  <a:pt x="4006746" y="1408466"/>
                </a:lnTo>
                <a:lnTo>
                  <a:pt x="4006746" y="-77"/>
                </a:lnTo>
                <a:lnTo>
                  <a:pt x="2292953" y="-77"/>
                </a:lnTo>
                <a:lnTo>
                  <a:pt x="2292953" y="1410753"/>
                </a:lnTo>
                <a:lnTo>
                  <a:pt x="2151149" y="1410753"/>
                </a:lnTo>
                <a:lnTo>
                  <a:pt x="2151149" y="-77"/>
                </a:lnTo>
                <a:lnTo>
                  <a:pt x="437180" y="-77"/>
                </a:lnTo>
                <a:lnTo>
                  <a:pt x="437180" y="1607802"/>
                </a:lnTo>
                <a:lnTo>
                  <a:pt x="-21" y="3065783"/>
                </a:lnTo>
                <a:lnTo>
                  <a:pt x="384575" y="3065783"/>
                </a:lnTo>
                <a:lnTo>
                  <a:pt x="578105" y="2420098"/>
                </a:lnTo>
                <a:lnTo>
                  <a:pt x="633701" y="2420098"/>
                </a:lnTo>
                <a:lnTo>
                  <a:pt x="952673" y="3065783"/>
                </a:lnTo>
                <a:lnTo>
                  <a:pt x="1417144" y="3065783"/>
                </a:lnTo>
                <a:lnTo>
                  <a:pt x="1107496" y="2420098"/>
                </a:lnTo>
                <a:lnTo>
                  <a:pt x="1809657" y="2420098"/>
                </a:lnTo>
                <a:lnTo>
                  <a:pt x="1614896" y="3065783"/>
                </a:lnTo>
                <a:lnTo>
                  <a:pt x="2035207" y="3065783"/>
                </a:lnTo>
                <a:lnTo>
                  <a:pt x="2227329" y="2421857"/>
                </a:lnTo>
                <a:lnTo>
                  <a:pt x="2319696" y="2421857"/>
                </a:lnTo>
                <a:lnTo>
                  <a:pt x="2319696" y="2420098"/>
                </a:lnTo>
                <a:lnTo>
                  <a:pt x="3255324" y="2420098"/>
                </a:lnTo>
                <a:lnTo>
                  <a:pt x="3069711" y="3064024"/>
                </a:lnTo>
                <a:lnTo>
                  <a:pt x="3493541" y="3064024"/>
                </a:lnTo>
                <a:lnTo>
                  <a:pt x="3673172" y="2420098"/>
                </a:lnTo>
                <a:lnTo>
                  <a:pt x="3863886" y="2420098"/>
                </a:lnTo>
                <a:lnTo>
                  <a:pt x="3868988" y="3064024"/>
                </a:lnTo>
                <a:lnTo>
                  <a:pt x="4224555" y="3064024"/>
                </a:lnTo>
                <a:lnTo>
                  <a:pt x="4632375" y="2420098"/>
                </a:lnTo>
                <a:lnTo>
                  <a:pt x="4899445" y="2420098"/>
                </a:lnTo>
                <a:lnTo>
                  <a:pt x="4761688" y="3064024"/>
                </a:lnTo>
                <a:lnTo>
                  <a:pt x="5178832" y="3064024"/>
                </a:lnTo>
                <a:lnTo>
                  <a:pt x="5314303" y="2420098"/>
                </a:lnTo>
                <a:lnTo>
                  <a:pt x="5555511" y="2420098"/>
                </a:lnTo>
                <a:cubicBezTo>
                  <a:pt x="5546010" y="2619609"/>
                  <a:pt x="5597032" y="2800999"/>
                  <a:pt x="5729336" y="2922923"/>
                </a:cubicBezTo>
                <a:cubicBezTo>
                  <a:pt x="5891197" y="3071413"/>
                  <a:pt x="6139091" y="3099914"/>
                  <a:pt x="6322944" y="3099914"/>
                </a:cubicBezTo>
                <a:cubicBezTo>
                  <a:pt x="6583998" y="3096836"/>
                  <a:pt x="6843908" y="3064903"/>
                  <a:pt x="7097942" y="3004733"/>
                </a:cubicBezTo>
                <a:lnTo>
                  <a:pt x="7242385" y="2420098"/>
                </a:lnTo>
                <a:lnTo>
                  <a:pt x="7718468" y="2420098"/>
                </a:lnTo>
                <a:lnTo>
                  <a:pt x="7718468" y="-77"/>
                </a:lnTo>
                <a:close/>
                <a:moveTo>
                  <a:pt x="2089395" y="1492915"/>
                </a:moveTo>
                <a:lnTo>
                  <a:pt x="2064413" y="1575429"/>
                </a:lnTo>
                <a:lnTo>
                  <a:pt x="1836575" y="2333889"/>
                </a:lnTo>
                <a:lnTo>
                  <a:pt x="1827603" y="2360808"/>
                </a:lnTo>
                <a:lnTo>
                  <a:pt x="1078291" y="2360808"/>
                </a:lnTo>
                <a:lnTo>
                  <a:pt x="1019704" y="2237652"/>
                </a:lnTo>
                <a:lnTo>
                  <a:pt x="1827603" y="1411985"/>
                </a:lnTo>
                <a:lnTo>
                  <a:pt x="1308591" y="1411985"/>
                </a:lnTo>
                <a:lnTo>
                  <a:pt x="676805" y="2091274"/>
                </a:lnTo>
                <a:lnTo>
                  <a:pt x="881419" y="1410753"/>
                </a:lnTo>
                <a:lnTo>
                  <a:pt x="498582" y="1410753"/>
                </a:lnTo>
                <a:lnTo>
                  <a:pt x="498582" y="60972"/>
                </a:lnTo>
                <a:lnTo>
                  <a:pt x="2089395" y="60972"/>
                </a:lnTo>
                <a:close/>
                <a:moveTo>
                  <a:pt x="2531874" y="2133498"/>
                </a:moveTo>
                <a:lnTo>
                  <a:pt x="2531874" y="2133498"/>
                </a:lnTo>
                <a:cubicBezTo>
                  <a:pt x="2516568" y="2133498"/>
                  <a:pt x="2500910" y="2135786"/>
                  <a:pt x="2483140" y="2135786"/>
                </a:cubicBezTo>
                <a:cubicBezTo>
                  <a:pt x="2459741" y="2135786"/>
                  <a:pt x="2441795" y="2135786"/>
                  <a:pt x="2424554" y="2135786"/>
                </a:cubicBezTo>
                <a:lnTo>
                  <a:pt x="2322863" y="2135786"/>
                </a:lnTo>
                <a:lnTo>
                  <a:pt x="2369838" y="1961609"/>
                </a:lnTo>
                <a:lnTo>
                  <a:pt x="2392005" y="1874872"/>
                </a:lnTo>
                <a:lnTo>
                  <a:pt x="2445666" y="1672546"/>
                </a:lnTo>
                <a:cubicBezTo>
                  <a:pt x="2469417" y="1672546"/>
                  <a:pt x="2492465" y="1671491"/>
                  <a:pt x="2514633" y="1671491"/>
                </a:cubicBezTo>
                <a:lnTo>
                  <a:pt x="2593452" y="1671491"/>
                </a:lnTo>
                <a:cubicBezTo>
                  <a:pt x="2728219" y="1671491"/>
                  <a:pt x="2813372" y="1679231"/>
                  <a:pt x="2844337" y="1722512"/>
                </a:cubicBezTo>
                <a:cubicBezTo>
                  <a:pt x="2867912" y="1755060"/>
                  <a:pt x="2865097" y="1811360"/>
                  <a:pt x="2837124" y="1896688"/>
                </a:cubicBezTo>
                <a:cubicBezTo>
                  <a:pt x="2788917" y="2043771"/>
                  <a:pt x="2728219" y="2118544"/>
                  <a:pt x="2532402" y="2133498"/>
                </a:cubicBezTo>
                <a:moveTo>
                  <a:pt x="3690941" y="2359928"/>
                </a:moveTo>
                <a:lnTo>
                  <a:pt x="3858432" y="1764736"/>
                </a:lnTo>
                <a:lnTo>
                  <a:pt x="3864414" y="2359928"/>
                </a:lnTo>
                <a:close/>
                <a:moveTo>
                  <a:pt x="3944641" y="1408466"/>
                </a:moveTo>
                <a:lnTo>
                  <a:pt x="3546674" y="1408466"/>
                </a:lnTo>
                <a:lnTo>
                  <a:pt x="3273445" y="2359928"/>
                </a:lnTo>
                <a:lnTo>
                  <a:pt x="2851198" y="2359928"/>
                </a:lnTo>
                <a:cubicBezTo>
                  <a:pt x="3066368" y="2280229"/>
                  <a:pt x="3197265" y="2128220"/>
                  <a:pt x="3238258" y="1902494"/>
                </a:cubicBezTo>
                <a:cubicBezTo>
                  <a:pt x="3271685" y="1726558"/>
                  <a:pt x="3255851" y="1611672"/>
                  <a:pt x="3184421" y="1525287"/>
                </a:cubicBezTo>
                <a:cubicBezTo>
                  <a:pt x="3077100" y="1396854"/>
                  <a:pt x="2861931" y="1407938"/>
                  <a:pt x="2671040" y="1407938"/>
                </a:cubicBezTo>
                <a:lnTo>
                  <a:pt x="2354355" y="1407938"/>
                </a:lnTo>
                <a:lnTo>
                  <a:pt x="2354355" y="60972"/>
                </a:lnTo>
                <a:lnTo>
                  <a:pt x="3944641" y="60972"/>
                </a:lnTo>
                <a:close/>
                <a:moveTo>
                  <a:pt x="4912289" y="2359928"/>
                </a:moveTo>
                <a:lnTo>
                  <a:pt x="4672136" y="2359928"/>
                </a:lnTo>
                <a:lnTo>
                  <a:pt x="5035444" y="1789543"/>
                </a:lnTo>
                <a:close/>
                <a:moveTo>
                  <a:pt x="5801470" y="1435208"/>
                </a:moveTo>
                <a:lnTo>
                  <a:pt x="5800414" y="1764736"/>
                </a:lnTo>
                <a:cubicBezTo>
                  <a:pt x="5701327" y="1901738"/>
                  <a:pt x="5629298" y="2056403"/>
                  <a:pt x="5588235" y="2220411"/>
                </a:cubicBezTo>
                <a:cubicBezTo>
                  <a:pt x="5576254" y="2266189"/>
                  <a:pt x="5567844" y="2312847"/>
                  <a:pt x="5563076" y="2359928"/>
                </a:cubicBezTo>
                <a:lnTo>
                  <a:pt x="5329081" y="2359928"/>
                </a:lnTo>
                <a:lnTo>
                  <a:pt x="5528065" y="1410753"/>
                </a:lnTo>
                <a:lnTo>
                  <a:pt x="4854758" y="1410753"/>
                </a:lnTo>
                <a:lnTo>
                  <a:pt x="4252177" y="2360808"/>
                </a:lnTo>
                <a:lnTo>
                  <a:pt x="4208545" y="2360808"/>
                </a:lnTo>
                <a:lnTo>
                  <a:pt x="4208545" y="60972"/>
                </a:lnTo>
                <a:lnTo>
                  <a:pt x="5800766" y="60972"/>
                </a:lnTo>
                <a:close/>
                <a:moveTo>
                  <a:pt x="6718976" y="2748219"/>
                </a:moveTo>
                <a:cubicBezTo>
                  <a:pt x="6630709" y="2765355"/>
                  <a:pt x="6541104" y="2774591"/>
                  <a:pt x="6451201" y="2775840"/>
                </a:cubicBezTo>
                <a:cubicBezTo>
                  <a:pt x="6221605" y="2775840"/>
                  <a:pt x="6061855" y="2669047"/>
                  <a:pt x="6058512" y="2420098"/>
                </a:cubicBezTo>
                <a:lnTo>
                  <a:pt x="6800434" y="2420098"/>
                </a:lnTo>
                <a:close/>
                <a:moveTo>
                  <a:pt x="7658650" y="2359928"/>
                </a:moveTo>
                <a:lnTo>
                  <a:pt x="7256988" y="2359928"/>
                </a:lnTo>
                <a:lnTo>
                  <a:pt x="7322612" y="2094616"/>
                </a:lnTo>
                <a:lnTo>
                  <a:pt x="6519816" y="2094616"/>
                </a:lnTo>
                <a:lnTo>
                  <a:pt x="6453664" y="2359928"/>
                </a:lnTo>
                <a:lnTo>
                  <a:pt x="6065374" y="2359928"/>
                </a:lnTo>
                <a:lnTo>
                  <a:pt x="6065374" y="2305388"/>
                </a:lnTo>
                <a:cubicBezTo>
                  <a:pt x="6071355" y="2275479"/>
                  <a:pt x="6076458" y="2244162"/>
                  <a:pt x="6084023" y="2210734"/>
                </a:cubicBezTo>
                <a:cubicBezTo>
                  <a:pt x="6154397" y="1924662"/>
                  <a:pt x="6342648" y="1642109"/>
                  <a:pt x="6667251" y="1642109"/>
                </a:cubicBezTo>
                <a:cubicBezTo>
                  <a:pt x="6795684" y="1642109"/>
                  <a:pt x="6923413" y="1691019"/>
                  <a:pt x="6905996" y="1868715"/>
                </a:cubicBezTo>
                <a:lnTo>
                  <a:pt x="7383838" y="1868715"/>
                </a:lnTo>
                <a:cubicBezTo>
                  <a:pt x="7402839" y="1785849"/>
                  <a:pt x="7434332" y="1644572"/>
                  <a:pt x="7344253" y="1514555"/>
                </a:cubicBezTo>
                <a:cubicBezTo>
                  <a:pt x="7242385" y="1373807"/>
                  <a:pt x="7037244" y="1316979"/>
                  <a:pt x="6770877" y="1316979"/>
                </a:cubicBezTo>
                <a:cubicBezTo>
                  <a:pt x="6581570" y="1316979"/>
                  <a:pt x="6304647" y="1347240"/>
                  <a:pt x="6065374" y="1503295"/>
                </a:cubicBezTo>
                <a:lnTo>
                  <a:pt x="6065374" y="60621"/>
                </a:lnTo>
                <a:lnTo>
                  <a:pt x="7657946" y="60621"/>
                </a:lnTo>
                <a:close/>
              </a:path>
            </a:pathLst>
          </a:custGeom>
          <a:solidFill>
            <a:schemeClr val="bg1"/>
          </a:solidFill>
          <a:ln w="1757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10DA7EC7-B966-4F26-A629-BC231114FE9A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173A96F6-37E6-4BFF-B84F-D4B64D629A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40353C-5FA5-4860-9949-2793CD666F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336DF39-CB75-4B94-99A7-6AC992AC2597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169916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FINAL SLIDE">
    <p:bg>
      <p:bgPr>
        <a:gradFill>
          <a:gsLst>
            <a:gs pos="0">
              <a:srgbClr val="7213EA"/>
            </a:gs>
            <a:gs pos="100000">
              <a:srgbClr val="1F4AE3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285C4F2-66B1-4798-82AE-D4F04D677D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Graphic 6">
            <a:extLst>
              <a:ext uri="{FF2B5EF4-FFF2-40B4-BE49-F238E27FC236}">
                <a16:creationId xmlns:a16="http://schemas.microsoft.com/office/drawing/2014/main" id="{248485D9-C9C0-4687-AA25-7A69FB015CB9}"/>
              </a:ext>
            </a:extLst>
          </p:cNvPr>
          <p:cNvSpPr/>
          <p:nvPr/>
        </p:nvSpPr>
        <p:spPr>
          <a:xfrm>
            <a:off x="2234933" y="1882443"/>
            <a:ext cx="7718488" cy="3099991"/>
          </a:xfrm>
          <a:custGeom>
            <a:avLst/>
            <a:gdLst>
              <a:gd name="connsiteX0" fmla="*/ 6005027 w 7718488"/>
              <a:gd name="connsiteY0" fmla="*/ -77 h 3099991"/>
              <a:gd name="connsiteX1" fmla="*/ 6005027 w 7718488"/>
              <a:gd name="connsiteY1" fmla="*/ 1546752 h 3099991"/>
              <a:gd name="connsiteX2" fmla="*/ 5861992 w 7718488"/>
              <a:gd name="connsiteY2" fmla="*/ 1684334 h 3099991"/>
              <a:gd name="connsiteX3" fmla="*/ 5861992 w 7718488"/>
              <a:gd name="connsiteY3" fmla="*/ -77 h 3099991"/>
              <a:gd name="connsiteX4" fmla="*/ 4148727 w 7718488"/>
              <a:gd name="connsiteY4" fmla="*/ -77 h 3099991"/>
              <a:gd name="connsiteX5" fmla="*/ 4148727 w 7718488"/>
              <a:gd name="connsiteY5" fmla="*/ 1408466 h 3099991"/>
              <a:gd name="connsiteX6" fmla="*/ 4006746 w 7718488"/>
              <a:gd name="connsiteY6" fmla="*/ 1408466 h 3099991"/>
              <a:gd name="connsiteX7" fmla="*/ 4006746 w 7718488"/>
              <a:gd name="connsiteY7" fmla="*/ -77 h 3099991"/>
              <a:gd name="connsiteX8" fmla="*/ 2292953 w 7718488"/>
              <a:gd name="connsiteY8" fmla="*/ -77 h 3099991"/>
              <a:gd name="connsiteX9" fmla="*/ 2292953 w 7718488"/>
              <a:gd name="connsiteY9" fmla="*/ 1410753 h 3099991"/>
              <a:gd name="connsiteX10" fmla="*/ 2151149 w 7718488"/>
              <a:gd name="connsiteY10" fmla="*/ 1410753 h 3099991"/>
              <a:gd name="connsiteX11" fmla="*/ 2151149 w 7718488"/>
              <a:gd name="connsiteY11" fmla="*/ -77 h 3099991"/>
              <a:gd name="connsiteX12" fmla="*/ 437180 w 7718488"/>
              <a:gd name="connsiteY12" fmla="*/ -77 h 3099991"/>
              <a:gd name="connsiteX13" fmla="*/ 437180 w 7718488"/>
              <a:gd name="connsiteY13" fmla="*/ 1607802 h 3099991"/>
              <a:gd name="connsiteX14" fmla="*/ -21 w 7718488"/>
              <a:gd name="connsiteY14" fmla="*/ 3065783 h 3099991"/>
              <a:gd name="connsiteX15" fmla="*/ 384575 w 7718488"/>
              <a:gd name="connsiteY15" fmla="*/ 3065783 h 3099991"/>
              <a:gd name="connsiteX16" fmla="*/ 578105 w 7718488"/>
              <a:gd name="connsiteY16" fmla="*/ 2420098 h 3099991"/>
              <a:gd name="connsiteX17" fmla="*/ 633701 w 7718488"/>
              <a:gd name="connsiteY17" fmla="*/ 2420098 h 3099991"/>
              <a:gd name="connsiteX18" fmla="*/ 952673 w 7718488"/>
              <a:gd name="connsiteY18" fmla="*/ 3065783 h 3099991"/>
              <a:gd name="connsiteX19" fmla="*/ 1417144 w 7718488"/>
              <a:gd name="connsiteY19" fmla="*/ 3065783 h 3099991"/>
              <a:gd name="connsiteX20" fmla="*/ 1107496 w 7718488"/>
              <a:gd name="connsiteY20" fmla="*/ 2420098 h 3099991"/>
              <a:gd name="connsiteX21" fmla="*/ 1809657 w 7718488"/>
              <a:gd name="connsiteY21" fmla="*/ 2420098 h 3099991"/>
              <a:gd name="connsiteX22" fmla="*/ 1614896 w 7718488"/>
              <a:gd name="connsiteY22" fmla="*/ 3065783 h 3099991"/>
              <a:gd name="connsiteX23" fmla="*/ 2035207 w 7718488"/>
              <a:gd name="connsiteY23" fmla="*/ 3065783 h 3099991"/>
              <a:gd name="connsiteX24" fmla="*/ 2227329 w 7718488"/>
              <a:gd name="connsiteY24" fmla="*/ 2421857 h 3099991"/>
              <a:gd name="connsiteX25" fmla="*/ 2319696 w 7718488"/>
              <a:gd name="connsiteY25" fmla="*/ 2421857 h 3099991"/>
              <a:gd name="connsiteX26" fmla="*/ 2319696 w 7718488"/>
              <a:gd name="connsiteY26" fmla="*/ 2420098 h 3099991"/>
              <a:gd name="connsiteX27" fmla="*/ 3255324 w 7718488"/>
              <a:gd name="connsiteY27" fmla="*/ 2420098 h 3099991"/>
              <a:gd name="connsiteX28" fmla="*/ 3069711 w 7718488"/>
              <a:gd name="connsiteY28" fmla="*/ 3064024 h 3099991"/>
              <a:gd name="connsiteX29" fmla="*/ 3493541 w 7718488"/>
              <a:gd name="connsiteY29" fmla="*/ 3064024 h 3099991"/>
              <a:gd name="connsiteX30" fmla="*/ 3673172 w 7718488"/>
              <a:gd name="connsiteY30" fmla="*/ 2420098 h 3099991"/>
              <a:gd name="connsiteX31" fmla="*/ 3863886 w 7718488"/>
              <a:gd name="connsiteY31" fmla="*/ 2420098 h 3099991"/>
              <a:gd name="connsiteX32" fmla="*/ 3868988 w 7718488"/>
              <a:gd name="connsiteY32" fmla="*/ 3064024 h 3099991"/>
              <a:gd name="connsiteX33" fmla="*/ 4224555 w 7718488"/>
              <a:gd name="connsiteY33" fmla="*/ 3064024 h 3099991"/>
              <a:gd name="connsiteX34" fmla="*/ 4632375 w 7718488"/>
              <a:gd name="connsiteY34" fmla="*/ 2420098 h 3099991"/>
              <a:gd name="connsiteX35" fmla="*/ 4899445 w 7718488"/>
              <a:gd name="connsiteY35" fmla="*/ 2420098 h 3099991"/>
              <a:gd name="connsiteX36" fmla="*/ 4761688 w 7718488"/>
              <a:gd name="connsiteY36" fmla="*/ 3064024 h 3099991"/>
              <a:gd name="connsiteX37" fmla="*/ 5178832 w 7718488"/>
              <a:gd name="connsiteY37" fmla="*/ 3064024 h 3099991"/>
              <a:gd name="connsiteX38" fmla="*/ 5314303 w 7718488"/>
              <a:gd name="connsiteY38" fmla="*/ 2420098 h 3099991"/>
              <a:gd name="connsiteX39" fmla="*/ 5555511 w 7718488"/>
              <a:gd name="connsiteY39" fmla="*/ 2420098 h 3099991"/>
              <a:gd name="connsiteX40" fmla="*/ 5729336 w 7718488"/>
              <a:gd name="connsiteY40" fmla="*/ 2922923 h 3099991"/>
              <a:gd name="connsiteX41" fmla="*/ 6322944 w 7718488"/>
              <a:gd name="connsiteY41" fmla="*/ 3099914 h 3099991"/>
              <a:gd name="connsiteX42" fmla="*/ 7097942 w 7718488"/>
              <a:gd name="connsiteY42" fmla="*/ 3004733 h 3099991"/>
              <a:gd name="connsiteX43" fmla="*/ 7242385 w 7718488"/>
              <a:gd name="connsiteY43" fmla="*/ 2420098 h 3099991"/>
              <a:gd name="connsiteX44" fmla="*/ 7718468 w 7718488"/>
              <a:gd name="connsiteY44" fmla="*/ 2420098 h 3099991"/>
              <a:gd name="connsiteX45" fmla="*/ 7718468 w 7718488"/>
              <a:gd name="connsiteY45" fmla="*/ -77 h 3099991"/>
              <a:gd name="connsiteX46" fmla="*/ 2089395 w 7718488"/>
              <a:gd name="connsiteY46" fmla="*/ 1492915 h 3099991"/>
              <a:gd name="connsiteX47" fmla="*/ 2064413 w 7718488"/>
              <a:gd name="connsiteY47" fmla="*/ 1575429 h 3099991"/>
              <a:gd name="connsiteX48" fmla="*/ 1836575 w 7718488"/>
              <a:gd name="connsiteY48" fmla="*/ 2333889 h 3099991"/>
              <a:gd name="connsiteX49" fmla="*/ 1827603 w 7718488"/>
              <a:gd name="connsiteY49" fmla="*/ 2360808 h 3099991"/>
              <a:gd name="connsiteX50" fmla="*/ 1078291 w 7718488"/>
              <a:gd name="connsiteY50" fmla="*/ 2360808 h 3099991"/>
              <a:gd name="connsiteX51" fmla="*/ 1019704 w 7718488"/>
              <a:gd name="connsiteY51" fmla="*/ 2237652 h 3099991"/>
              <a:gd name="connsiteX52" fmla="*/ 1827603 w 7718488"/>
              <a:gd name="connsiteY52" fmla="*/ 1411985 h 3099991"/>
              <a:gd name="connsiteX53" fmla="*/ 1308591 w 7718488"/>
              <a:gd name="connsiteY53" fmla="*/ 1411985 h 3099991"/>
              <a:gd name="connsiteX54" fmla="*/ 676805 w 7718488"/>
              <a:gd name="connsiteY54" fmla="*/ 2091274 h 3099991"/>
              <a:gd name="connsiteX55" fmla="*/ 881419 w 7718488"/>
              <a:gd name="connsiteY55" fmla="*/ 1410753 h 3099991"/>
              <a:gd name="connsiteX56" fmla="*/ 498582 w 7718488"/>
              <a:gd name="connsiteY56" fmla="*/ 1410753 h 3099991"/>
              <a:gd name="connsiteX57" fmla="*/ 498582 w 7718488"/>
              <a:gd name="connsiteY57" fmla="*/ 60972 h 3099991"/>
              <a:gd name="connsiteX58" fmla="*/ 2089395 w 7718488"/>
              <a:gd name="connsiteY58" fmla="*/ 60972 h 3099991"/>
              <a:gd name="connsiteX59" fmla="*/ 2531874 w 7718488"/>
              <a:gd name="connsiteY59" fmla="*/ 2133498 h 3099991"/>
              <a:gd name="connsiteX60" fmla="*/ 2531874 w 7718488"/>
              <a:gd name="connsiteY60" fmla="*/ 2133498 h 3099991"/>
              <a:gd name="connsiteX61" fmla="*/ 2483140 w 7718488"/>
              <a:gd name="connsiteY61" fmla="*/ 2135786 h 3099991"/>
              <a:gd name="connsiteX62" fmla="*/ 2424554 w 7718488"/>
              <a:gd name="connsiteY62" fmla="*/ 2135786 h 3099991"/>
              <a:gd name="connsiteX63" fmla="*/ 2322863 w 7718488"/>
              <a:gd name="connsiteY63" fmla="*/ 2135786 h 3099991"/>
              <a:gd name="connsiteX64" fmla="*/ 2369838 w 7718488"/>
              <a:gd name="connsiteY64" fmla="*/ 1961609 h 3099991"/>
              <a:gd name="connsiteX65" fmla="*/ 2392005 w 7718488"/>
              <a:gd name="connsiteY65" fmla="*/ 1874872 h 3099991"/>
              <a:gd name="connsiteX66" fmla="*/ 2445666 w 7718488"/>
              <a:gd name="connsiteY66" fmla="*/ 1672546 h 3099991"/>
              <a:gd name="connsiteX67" fmla="*/ 2514633 w 7718488"/>
              <a:gd name="connsiteY67" fmla="*/ 1671491 h 3099991"/>
              <a:gd name="connsiteX68" fmla="*/ 2593452 w 7718488"/>
              <a:gd name="connsiteY68" fmla="*/ 1671491 h 3099991"/>
              <a:gd name="connsiteX69" fmla="*/ 2844337 w 7718488"/>
              <a:gd name="connsiteY69" fmla="*/ 1722512 h 3099991"/>
              <a:gd name="connsiteX70" fmla="*/ 2837124 w 7718488"/>
              <a:gd name="connsiteY70" fmla="*/ 1896688 h 3099991"/>
              <a:gd name="connsiteX71" fmla="*/ 2532402 w 7718488"/>
              <a:gd name="connsiteY71" fmla="*/ 2133498 h 3099991"/>
              <a:gd name="connsiteX72" fmla="*/ 3690941 w 7718488"/>
              <a:gd name="connsiteY72" fmla="*/ 2359928 h 3099991"/>
              <a:gd name="connsiteX73" fmla="*/ 3858432 w 7718488"/>
              <a:gd name="connsiteY73" fmla="*/ 1764736 h 3099991"/>
              <a:gd name="connsiteX74" fmla="*/ 3864414 w 7718488"/>
              <a:gd name="connsiteY74" fmla="*/ 2359928 h 3099991"/>
              <a:gd name="connsiteX75" fmla="*/ 3944641 w 7718488"/>
              <a:gd name="connsiteY75" fmla="*/ 1408466 h 3099991"/>
              <a:gd name="connsiteX76" fmla="*/ 3546674 w 7718488"/>
              <a:gd name="connsiteY76" fmla="*/ 1408466 h 3099991"/>
              <a:gd name="connsiteX77" fmla="*/ 3273445 w 7718488"/>
              <a:gd name="connsiteY77" fmla="*/ 2359928 h 3099991"/>
              <a:gd name="connsiteX78" fmla="*/ 2851198 w 7718488"/>
              <a:gd name="connsiteY78" fmla="*/ 2359928 h 3099991"/>
              <a:gd name="connsiteX79" fmla="*/ 3238258 w 7718488"/>
              <a:gd name="connsiteY79" fmla="*/ 1902494 h 3099991"/>
              <a:gd name="connsiteX80" fmla="*/ 3184421 w 7718488"/>
              <a:gd name="connsiteY80" fmla="*/ 1525287 h 3099991"/>
              <a:gd name="connsiteX81" fmla="*/ 2671040 w 7718488"/>
              <a:gd name="connsiteY81" fmla="*/ 1407938 h 3099991"/>
              <a:gd name="connsiteX82" fmla="*/ 2354355 w 7718488"/>
              <a:gd name="connsiteY82" fmla="*/ 1407938 h 3099991"/>
              <a:gd name="connsiteX83" fmla="*/ 2354355 w 7718488"/>
              <a:gd name="connsiteY83" fmla="*/ 60972 h 3099991"/>
              <a:gd name="connsiteX84" fmla="*/ 3944641 w 7718488"/>
              <a:gd name="connsiteY84" fmla="*/ 60972 h 3099991"/>
              <a:gd name="connsiteX85" fmla="*/ 4912289 w 7718488"/>
              <a:gd name="connsiteY85" fmla="*/ 2359928 h 3099991"/>
              <a:gd name="connsiteX86" fmla="*/ 4672136 w 7718488"/>
              <a:gd name="connsiteY86" fmla="*/ 2359928 h 3099991"/>
              <a:gd name="connsiteX87" fmla="*/ 5035444 w 7718488"/>
              <a:gd name="connsiteY87" fmla="*/ 1789543 h 3099991"/>
              <a:gd name="connsiteX88" fmla="*/ 5801470 w 7718488"/>
              <a:gd name="connsiteY88" fmla="*/ 1435208 h 3099991"/>
              <a:gd name="connsiteX89" fmla="*/ 5800414 w 7718488"/>
              <a:gd name="connsiteY89" fmla="*/ 1764736 h 3099991"/>
              <a:gd name="connsiteX90" fmla="*/ 5588235 w 7718488"/>
              <a:gd name="connsiteY90" fmla="*/ 2220411 h 3099991"/>
              <a:gd name="connsiteX91" fmla="*/ 5563076 w 7718488"/>
              <a:gd name="connsiteY91" fmla="*/ 2359928 h 3099991"/>
              <a:gd name="connsiteX92" fmla="*/ 5329081 w 7718488"/>
              <a:gd name="connsiteY92" fmla="*/ 2359928 h 3099991"/>
              <a:gd name="connsiteX93" fmla="*/ 5528065 w 7718488"/>
              <a:gd name="connsiteY93" fmla="*/ 1410753 h 3099991"/>
              <a:gd name="connsiteX94" fmla="*/ 4854758 w 7718488"/>
              <a:gd name="connsiteY94" fmla="*/ 1410753 h 3099991"/>
              <a:gd name="connsiteX95" fmla="*/ 4252177 w 7718488"/>
              <a:gd name="connsiteY95" fmla="*/ 2360808 h 3099991"/>
              <a:gd name="connsiteX96" fmla="*/ 4208545 w 7718488"/>
              <a:gd name="connsiteY96" fmla="*/ 2360808 h 3099991"/>
              <a:gd name="connsiteX97" fmla="*/ 4208545 w 7718488"/>
              <a:gd name="connsiteY97" fmla="*/ 60972 h 3099991"/>
              <a:gd name="connsiteX98" fmla="*/ 5800766 w 7718488"/>
              <a:gd name="connsiteY98" fmla="*/ 60972 h 3099991"/>
              <a:gd name="connsiteX99" fmla="*/ 6718976 w 7718488"/>
              <a:gd name="connsiteY99" fmla="*/ 2748219 h 3099991"/>
              <a:gd name="connsiteX100" fmla="*/ 6451201 w 7718488"/>
              <a:gd name="connsiteY100" fmla="*/ 2775840 h 3099991"/>
              <a:gd name="connsiteX101" fmla="*/ 6058512 w 7718488"/>
              <a:gd name="connsiteY101" fmla="*/ 2420098 h 3099991"/>
              <a:gd name="connsiteX102" fmla="*/ 6800434 w 7718488"/>
              <a:gd name="connsiteY102" fmla="*/ 2420098 h 3099991"/>
              <a:gd name="connsiteX103" fmla="*/ 7658650 w 7718488"/>
              <a:gd name="connsiteY103" fmla="*/ 2359928 h 3099991"/>
              <a:gd name="connsiteX104" fmla="*/ 7256988 w 7718488"/>
              <a:gd name="connsiteY104" fmla="*/ 2359928 h 3099991"/>
              <a:gd name="connsiteX105" fmla="*/ 7322612 w 7718488"/>
              <a:gd name="connsiteY105" fmla="*/ 2094616 h 3099991"/>
              <a:gd name="connsiteX106" fmla="*/ 6519816 w 7718488"/>
              <a:gd name="connsiteY106" fmla="*/ 2094616 h 3099991"/>
              <a:gd name="connsiteX107" fmla="*/ 6453664 w 7718488"/>
              <a:gd name="connsiteY107" fmla="*/ 2359928 h 3099991"/>
              <a:gd name="connsiteX108" fmla="*/ 6065374 w 7718488"/>
              <a:gd name="connsiteY108" fmla="*/ 2359928 h 3099991"/>
              <a:gd name="connsiteX109" fmla="*/ 6065374 w 7718488"/>
              <a:gd name="connsiteY109" fmla="*/ 2305388 h 3099991"/>
              <a:gd name="connsiteX110" fmla="*/ 6084023 w 7718488"/>
              <a:gd name="connsiteY110" fmla="*/ 2210734 h 3099991"/>
              <a:gd name="connsiteX111" fmla="*/ 6667251 w 7718488"/>
              <a:gd name="connsiteY111" fmla="*/ 1642109 h 3099991"/>
              <a:gd name="connsiteX112" fmla="*/ 6905996 w 7718488"/>
              <a:gd name="connsiteY112" fmla="*/ 1868715 h 3099991"/>
              <a:gd name="connsiteX113" fmla="*/ 7383838 w 7718488"/>
              <a:gd name="connsiteY113" fmla="*/ 1868715 h 3099991"/>
              <a:gd name="connsiteX114" fmla="*/ 7344253 w 7718488"/>
              <a:gd name="connsiteY114" fmla="*/ 1514555 h 3099991"/>
              <a:gd name="connsiteX115" fmla="*/ 6770877 w 7718488"/>
              <a:gd name="connsiteY115" fmla="*/ 1316979 h 3099991"/>
              <a:gd name="connsiteX116" fmla="*/ 6065374 w 7718488"/>
              <a:gd name="connsiteY116" fmla="*/ 1503295 h 3099991"/>
              <a:gd name="connsiteX117" fmla="*/ 6065374 w 7718488"/>
              <a:gd name="connsiteY117" fmla="*/ 60621 h 3099991"/>
              <a:gd name="connsiteX118" fmla="*/ 7657946 w 7718488"/>
              <a:gd name="connsiteY118" fmla="*/ 60621 h 30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7718488" h="3099991">
                <a:moveTo>
                  <a:pt x="6005027" y="-77"/>
                </a:moveTo>
                <a:lnTo>
                  <a:pt x="6005027" y="1546752"/>
                </a:lnTo>
                <a:cubicBezTo>
                  <a:pt x="5953197" y="1588097"/>
                  <a:pt x="5905324" y="1634157"/>
                  <a:pt x="5861992" y="1684334"/>
                </a:cubicBezTo>
                <a:lnTo>
                  <a:pt x="5861992" y="-77"/>
                </a:lnTo>
                <a:lnTo>
                  <a:pt x="4148727" y="-77"/>
                </a:lnTo>
                <a:lnTo>
                  <a:pt x="4148727" y="1408466"/>
                </a:lnTo>
                <a:lnTo>
                  <a:pt x="4006746" y="1408466"/>
                </a:lnTo>
                <a:lnTo>
                  <a:pt x="4006746" y="-77"/>
                </a:lnTo>
                <a:lnTo>
                  <a:pt x="2292953" y="-77"/>
                </a:lnTo>
                <a:lnTo>
                  <a:pt x="2292953" y="1410753"/>
                </a:lnTo>
                <a:lnTo>
                  <a:pt x="2151149" y="1410753"/>
                </a:lnTo>
                <a:lnTo>
                  <a:pt x="2151149" y="-77"/>
                </a:lnTo>
                <a:lnTo>
                  <a:pt x="437180" y="-77"/>
                </a:lnTo>
                <a:lnTo>
                  <a:pt x="437180" y="1607802"/>
                </a:lnTo>
                <a:lnTo>
                  <a:pt x="-21" y="3065783"/>
                </a:lnTo>
                <a:lnTo>
                  <a:pt x="384575" y="3065783"/>
                </a:lnTo>
                <a:lnTo>
                  <a:pt x="578105" y="2420098"/>
                </a:lnTo>
                <a:lnTo>
                  <a:pt x="633701" y="2420098"/>
                </a:lnTo>
                <a:lnTo>
                  <a:pt x="952673" y="3065783"/>
                </a:lnTo>
                <a:lnTo>
                  <a:pt x="1417144" y="3065783"/>
                </a:lnTo>
                <a:lnTo>
                  <a:pt x="1107496" y="2420098"/>
                </a:lnTo>
                <a:lnTo>
                  <a:pt x="1809657" y="2420098"/>
                </a:lnTo>
                <a:lnTo>
                  <a:pt x="1614896" y="3065783"/>
                </a:lnTo>
                <a:lnTo>
                  <a:pt x="2035207" y="3065783"/>
                </a:lnTo>
                <a:lnTo>
                  <a:pt x="2227329" y="2421857"/>
                </a:lnTo>
                <a:lnTo>
                  <a:pt x="2319696" y="2421857"/>
                </a:lnTo>
                <a:lnTo>
                  <a:pt x="2319696" y="2420098"/>
                </a:lnTo>
                <a:lnTo>
                  <a:pt x="3255324" y="2420098"/>
                </a:lnTo>
                <a:lnTo>
                  <a:pt x="3069711" y="3064024"/>
                </a:lnTo>
                <a:lnTo>
                  <a:pt x="3493541" y="3064024"/>
                </a:lnTo>
                <a:lnTo>
                  <a:pt x="3673172" y="2420098"/>
                </a:lnTo>
                <a:lnTo>
                  <a:pt x="3863886" y="2420098"/>
                </a:lnTo>
                <a:lnTo>
                  <a:pt x="3868988" y="3064024"/>
                </a:lnTo>
                <a:lnTo>
                  <a:pt x="4224555" y="3064024"/>
                </a:lnTo>
                <a:lnTo>
                  <a:pt x="4632375" y="2420098"/>
                </a:lnTo>
                <a:lnTo>
                  <a:pt x="4899445" y="2420098"/>
                </a:lnTo>
                <a:lnTo>
                  <a:pt x="4761688" y="3064024"/>
                </a:lnTo>
                <a:lnTo>
                  <a:pt x="5178832" y="3064024"/>
                </a:lnTo>
                <a:lnTo>
                  <a:pt x="5314303" y="2420098"/>
                </a:lnTo>
                <a:lnTo>
                  <a:pt x="5555511" y="2420098"/>
                </a:lnTo>
                <a:cubicBezTo>
                  <a:pt x="5546010" y="2619609"/>
                  <a:pt x="5597032" y="2800999"/>
                  <a:pt x="5729336" y="2922923"/>
                </a:cubicBezTo>
                <a:cubicBezTo>
                  <a:pt x="5891197" y="3071413"/>
                  <a:pt x="6139091" y="3099914"/>
                  <a:pt x="6322944" y="3099914"/>
                </a:cubicBezTo>
                <a:cubicBezTo>
                  <a:pt x="6583998" y="3096836"/>
                  <a:pt x="6843908" y="3064903"/>
                  <a:pt x="7097942" y="3004733"/>
                </a:cubicBezTo>
                <a:lnTo>
                  <a:pt x="7242385" y="2420098"/>
                </a:lnTo>
                <a:lnTo>
                  <a:pt x="7718468" y="2420098"/>
                </a:lnTo>
                <a:lnTo>
                  <a:pt x="7718468" y="-77"/>
                </a:lnTo>
                <a:close/>
                <a:moveTo>
                  <a:pt x="2089395" y="1492915"/>
                </a:moveTo>
                <a:lnTo>
                  <a:pt x="2064413" y="1575429"/>
                </a:lnTo>
                <a:lnTo>
                  <a:pt x="1836575" y="2333889"/>
                </a:lnTo>
                <a:lnTo>
                  <a:pt x="1827603" y="2360808"/>
                </a:lnTo>
                <a:lnTo>
                  <a:pt x="1078291" y="2360808"/>
                </a:lnTo>
                <a:lnTo>
                  <a:pt x="1019704" y="2237652"/>
                </a:lnTo>
                <a:lnTo>
                  <a:pt x="1827603" y="1411985"/>
                </a:lnTo>
                <a:lnTo>
                  <a:pt x="1308591" y="1411985"/>
                </a:lnTo>
                <a:lnTo>
                  <a:pt x="676805" y="2091274"/>
                </a:lnTo>
                <a:lnTo>
                  <a:pt x="881419" y="1410753"/>
                </a:lnTo>
                <a:lnTo>
                  <a:pt x="498582" y="1410753"/>
                </a:lnTo>
                <a:lnTo>
                  <a:pt x="498582" y="60972"/>
                </a:lnTo>
                <a:lnTo>
                  <a:pt x="2089395" y="60972"/>
                </a:lnTo>
                <a:close/>
                <a:moveTo>
                  <a:pt x="2531874" y="2133498"/>
                </a:moveTo>
                <a:lnTo>
                  <a:pt x="2531874" y="2133498"/>
                </a:lnTo>
                <a:cubicBezTo>
                  <a:pt x="2516568" y="2133498"/>
                  <a:pt x="2500910" y="2135786"/>
                  <a:pt x="2483140" y="2135786"/>
                </a:cubicBezTo>
                <a:cubicBezTo>
                  <a:pt x="2459741" y="2135786"/>
                  <a:pt x="2441795" y="2135786"/>
                  <a:pt x="2424554" y="2135786"/>
                </a:cubicBezTo>
                <a:lnTo>
                  <a:pt x="2322863" y="2135786"/>
                </a:lnTo>
                <a:lnTo>
                  <a:pt x="2369838" y="1961609"/>
                </a:lnTo>
                <a:lnTo>
                  <a:pt x="2392005" y="1874872"/>
                </a:lnTo>
                <a:lnTo>
                  <a:pt x="2445666" y="1672546"/>
                </a:lnTo>
                <a:cubicBezTo>
                  <a:pt x="2469417" y="1672546"/>
                  <a:pt x="2492465" y="1671491"/>
                  <a:pt x="2514633" y="1671491"/>
                </a:cubicBezTo>
                <a:lnTo>
                  <a:pt x="2593452" y="1671491"/>
                </a:lnTo>
                <a:cubicBezTo>
                  <a:pt x="2728219" y="1671491"/>
                  <a:pt x="2813372" y="1679231"/>
                  <a:pt x="2844337" y="1722512"/>
                </a:cubicBezTo>
                <a:cubicBezTo>
                  <a:pt x="2867912" y="1755060"/>
                  <a:pt x="2865097" y="1811360"/>
                  <a:pt x="2837124" y="1896688"/>
                </a:cubicBezTo>
                <a:cubicBezTo>
                  <a:pt x="2788917" y="2043771"/>
                  <a:pt x="2728219" y="2118544"/>
                  <a:pt x="2532402" y="2133498"/>
                </a:cubicBezTo>
                <a:moveTo>
                  <a:pt x="3690941" y="2359928"/>
                </a:moveTo>
                <a:lnTo>
                  <a:pt x="3858432" y="1764736"/>
                </a:lnTo>
                <a:lnTo>
                  <a:pt x="3864414" y="2359928"/>
                </a:lnTo>
                <a:close/>
                <a:moveTo>
                  <a:pt x="3944641" y="1408466"/>
                </a:moveTo>
                <a:lnTo>
                  <a:pt x="3546674" y="1408466"/>
                </a:lnTo>
                <a:lnTo>
                  <a:pt x="3273445" y="2359928"/>
                </a:lnTo>
                <a:lnTo>
                  <a:pt x="2851198" y="2359928"/>
                </a:lnTo>
                <a:cubicBezTo>
                  <a:pt x="3066368" y="2280229"/>
                  <a:pt x="3197265" y="2128220"/>
                  <a:pt x="3238258" y="1902494"/>
                </a:cubicBezTo>
                <a:cubicBezTo>
                  <a:pt x="3271685" y="1726558"/>
                  <a:pt x="3255851" y="1611672"/>
                  <a:pt x="3184421" y="1525287"/>
                </a:cubicBezTo>
                <a:cubicBezTo>
                  <a:pt x="3077100" y="1396854"/>
                  <a:pt x="2861931" y="1407938"/>
                  <a:pt x="2671040" y="1407938"/>
                </a:cubicBezTo>
                <a:lnTo>
                  <a:pt x="2354355" y="1407938"/>
                </a:lnTo>
                <a:lnTo>
                  <a:pt x="2354355" y="60972"/>
                </a:lnTo>
                <a:lnTo>
                  <a:pt x="3944641" y="60972"/>
                </a:lnTo>
                <a:close/>
                <a:moveTo>
                  <a:pt x="4912289" y="2359928"/>
                </a:moveTo>
                <a:lnTo>
                  <a:pt x="4672136" y="2359928"/>
                </a:lnTo>
                <a:lnTo>
                  <a:pt x="5035444" y="1789543"/>
                </a:lnTo>
                <a:close/>
                <a:moveTo>
                  <a:pt x="5801470" y="1435208"/>
                </a:moveTo>
                <a:lnTo>
                  <a:pt x="5800414" y="1764736"/>
                </a:lnTo>
                <a:cubicBezTo>
                  <a:pt x="5701327" y="1901738"/>
                  <a:pt x="5629298" y="2056403"/>
                  <a:pt x="5588235" y="2220411"/>
                </a:cubicBezTo>
                <a:cubicBezTo>
                  <a:pt x="5576254" y="2266189"/>
                  <a:pt x="5567844" y="2312847"/>
                  <a:pt x="5563076" y="2359928"/>
                </a:cubicBezTo>
                <a:lnTo>
                  <a:pt x="5329081" y="2359928"/>
                </a:lnTo>
                <a:lnTo>
                  <a:pt x="5528065" y="1410753"/>
                </a:lnTo>
                <a:lnTo>
                  <a:pt x="4854758" y="1410753"/>
                </a:lnTo>
                <a:lnTo>
                  <a:pt x="4252177" y="2360808"/>
                </a:lnTo>
                <a:lnTo>
                  <a:pt x="4208545" y="2360808"/>
                </a:lnTo>
                <a:lnTo>
                  <a:pt x="4208545" y="60972"/>
                </a:lnTo>
                <a:lnTo>
                  <a:pt x="5800766" y="60972"/>
                </a:lnTo>
                <a:close/>
                <a:moveTo>
                  <a:pt x="6718976" y="2748219"/>
                </a:moveTo>
                <a:cubicBezTo>
                  <a:pt x="6630709" y="2765355"/>
                  <a:pt x="6541104" y="2774591"/>
                  <a:pt x="6451201" y="2775840"/>
                </a:cubicBezTo>
                <a:cubicBezTo>
                  <a:pt x="6221605" y="2775840"/>
                  <a:pt x="6061855" y="2669047"/>
                  <a:pt x="6058512" y="2420098"/>
                </a:cubicBezTo>
                <a:lnTo>
                  <a:pt x="6800434" y="2420098"/>
                </a:lnTo>
                <a:close/>
                <a:moveTo>
                  <a:pt x="7658650" y="2359928"/>
                </a:moveTo>
                <a:lnTo>
                  <a:pt x="7256988" y="2359928"/>
                </a:lnTo>
                <a:lnTo>
                  <a:pt x="7322612" y="2094616"/>
                </a:lnTo>
                <a:lnTo>
                  <a:pt x="6519816" y="2094616"/>
                </a:lnTo>
                <a:lnTo>
                  <a:pt x="6453664" y="2359928"/>
                </a:lnTo>
                <a:lnTo>
                  <a:pt x="6065374" y="2359928"/>
                </a:lnTo>
                <a:lnTo>
                  <a:pt x="6065374" y="2305388"/>
                </a:lnTo>
                <a:cubicBezTo>
                  <a:pt x="6071355" y="2275479"/>
                  <a:pt x="6076458" y="2244162"/>
                  <a:pt x="6084023" y="2210734"/>
                </a:cubicBezTo>
                <a:cubicBezTo>
                  <a:pt x="6154397" y="1924662"/>
                  <a:pt x="6342648" y="1642109"/>
                  <a:pt x="6667251" y="1642109"/>
                </a:cubicBezTo>
                <a:cubicBezTo>
                  <a:pt x="6795684" y="1642109"/>
                  <a:pt x="6923413" y="1691019"/>
                  <a:pt x="6905996" y="1868715"/>
                </a:cubicBezTo>
                <a:lnTo>
                  <a:pt x="7383838" y="1868715"/>
                </a:lnTo>
                <a:cubicBezTo>
                  <a:pt x="7402839" y="1785849"/>
                  <a:pt x="7434332" y="1644572"/>
                  <a:pt x="7344253" y="1514555"/>
                </a:cubicBezTo>
                <a:cubicBezTo>
                  <a:pt x="7242385" y="1373807"/>
                  <a:pt x="7037244" y="1316979"/>
                  <a:pt x="6770877" y="1316979"/>
                </a:cubicBezTo>
                <a:cubicBezTo>
                  <a:pt x="6581570" y="1316979"/>
                  <a:pt x="6304647" y="1347240"/>
                  <a:pt x="6065374" y="1503295"/>
                </a:cubicBezTo>
                <a:lnTo>
                  <a:pt x="6065374" y="60621"/>
                </a:lnTo>
                <a:lnTo>
                  <a:pt x="7657946" y="60621"/>
                </a:lnTo>
                <a:close/>
              </a:path>
            </a:pathLst>
          </a:custGeom>
          <a:solidFill>
            <a:srgbClr val="4835F3"/>
          </a:solidFill>
          <a:ln w="1757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10DA7EC7-B966-4F26-A629-BC231114FE9A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173A96F6-37E6-4BFF-B84F-D4B64D629A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40353C-5FA5-4860-9949-2793CD666F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336DF39-CB75-4B94-99A7-6AC992AC2597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737532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FINAL SLIDE">
    <p:bg>
      <p:bgPr>
        <a:gradFill>
          <a:gsLst>
            <a:gs pos="0">
              <a:srgbClr val="00B8F5"/>
            </a:gs>
            <a:gs pos="100000">
              <a:srgbClr val="ACE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raphic 6">
            <a:extLst>
              <a:ext uri="{FF2B5EF4-FFF2-40B4-BE49-F238E27FC236}">
                <a16:creationId xmlns:a16="http://schemas.microsoft.com/office/drawing/2014/main" id="{248485D9-C9C0-4687-AA25-7A69FB015CB9}"/>
              </a:ext>
            </a:extLst>
          </p:cNvPr>
          <p:cNvSpPr/>
          <p:nvPr/>
        </p:nvSpPr>
        <p:spPr>
          <a:xfrm>
            <a:off x="2234933" y="1882443"/>
            <a:ext cx="7718488" cy="3099991"/>
          </a:xfrm>
          <a:custGeom>
            <a:avLst/>
            <a:gdLst>
              <a:gd name="connsiteX0" fmla="*/ 6005027 w 7718488"/>
              <a:gd name="connsiteY0" fmla="*/ -77 h 3099991"/>
              <a:gd name="connsiteX1" fmla="*/ 6005027 w 7718488"/>
              <a:gd name="connsiteY1" fmla="*/ 1546752 h 3099991"/>
              <a:gd name="connsiteX2" fmla="*/ 5861992 w 7718488"/>
              <a:gd name="connsiteY2" fmla="*/ 1684334 h 3099991"/>
              <a:gd name="connsiteX3" fmla="*/ 5861992 w 7718488"/>
              <a:gd name="connsiteY3" fmla="*/ -77 h 3099991"/>
              <a:gd name="connsiteX4" fmla="*/ 4148727 w 7718488"/>
              <a:gd name="connsiteY4" fmla="*/ -77 h 3099991"/>
              <a:gd name="connsiteX5" fmla="*/ 4148727 w 7718488"/>
              <a:gd name="connsiteY5" fmla="*/ 1408466 h 3099991"/>
              <a:gd name="connsiteX6" fmla="*/ 4006746 w 7718488"/>
              <a:gd name="connsiteY6" fmla="*/ 1408466 h 3099991"/>
              <a:gd name="connsiteX7" fmla="*/ 4006746 w 7718488"/>
              <a:gd name="connsiteY7" fmla="*/ -77 h 3099991"/>
              <a:gd name="connsiteX8" fmla="*/ 2292953 w 7718488"/>
              <a:gd name="connsiteY8" fmla="*/ -77 h 3099991"/>
              <a:gd name="connsiteX9" fmla="*/ 2292953 w 7718488"/>
              <a:gd name="connsiteY9" fmla="*/ 1410753 h 3099991"/>
              <a:gd name="connsiteX10" fmla="*/ 2151149 w 7718488"/>
              <a:gd name="connsiteY10" fmla="*/ 1410753 h 3099991"/>
              <a:gd name="connsiteX11" fmla="*/ 2151149 w 7718488"/>
              <a:gd name="connsiteY11" fmla="*/ -77 h 3099991"/>
              <a:gd name="connsiteX12" fmla="*/ 437180 w 7718488"/>
              <a:gd name="connsiteY12" fmla="*/ -77 h 3099991"/>
              <a:gd name="connsiteX13" fmla="*/ 437180 w 7718488"/>
              <a:gd name="connsiteY13" fmla="*/ 1607802 h 3099991"/>
              <a:gd name="connsiteX14" fmla="*/ -21 w 7718488"/>
              <a:gd name="connsiteY14" fmla="*/ 3065783 h 3099991"/>
              <a:gd name="connsiteX15" fmla="*/ 384575 w 7718488"/>
              <a:gd name="connsiteY15" fmla="*/ 3065783 h 3099991"/>
              <a:gd name="connsiteX16" fmla="*/ 578105 w 7718488"/>
              <a:gd name="connsiteY16" fmla="*/ 2420098 h 3099991"/>
              <a:gd name="connsiteX17" fmla="*/ 633701 w 7718488"/>
              <a:gd name="connsiteY17" fmla="*/ 2420098 h 3099991"/>
              <a:gd name="connsiteX18" fmla="*/ 952673 w 7718488"/>
              <a:gd name="connsiteY18" fmla="*/ 3065783 h 3099991"/>
              <a:gd name="connsiteX19" fmla="*/ 1417144 w 7718488"/>
              <a:gd name="connsiteY19" fmla="*/ 3065783 h 3099991"/>
              <a:gd name="connsiteX20" fmla="*/ 1107496 w 7718488"/>
              <a:gd name="connsiteY20" fmla="*/ 2420098 h 3099991"/>
              <a:gd name="connsiteX21" fmla="*/ 1809657 w 7718488"/>
              <a:gd name="connsiteY21" fmla="*/ 2420098 h 3099991"/>
              <a:gd name="connsiteX22" fmla="*/ 1614896 w 7718488"/>
              <a:gd name="connsiteY22" fmla="*/ 3065783 h 3099991"/>
              <a:gd name="connsiteX23" fmla="*/ 2035207 w 7718488"/>
              <a:gd name="connsiteY23" fmla="*/ 3065783 h 3099991"/>
              <a:gd name="connsiteX24" fmla="*/ 2227329 w 7718488"/>
              <a:gd name="connsiteY24" fmla="*/ 2421857 h 3099991"/>
              <a:gd name="connsiteX25" fmla="*/ 2319696 w 7718488"/>
              <a:gd name="connsiteY25" fmla="*/ 2421857 h 3099991"/>
              <a:gd name="connsiteX26" fmla="*/ 2319696 w 7718488"/>
              <a:gd name="connsiteY26" fmla="*/ 2420098 h 3099991"/>
              <a:gd name="connsiteX27" fmla="*/ 3255324 w 7718488"/>
              <a:gd name="connsiteY27" fmla="*/ 2420098 h 3099991"/>
              <a:gd name="connsiteX28" fmla="*/ 3069711 w 7718488"/>
              <a:gd name="connsiteY28" fmla="*/ 3064024 h 3099991"/>
              <a:gd name="connsiteX29" fmla="*/ 3493541 w 7718488"/>
              <a:gd name="connsiteY29" fmla="*/ 3064024 h 3099991"/>
              <a:gd name="connsiteX30" fmla="*/ 3673172 w 7718488"/>
              <a:gd name="connsiteY30" fmla="*/ 2420098 h 3099991"/>
              <a:gd name="connsiteX31" fmla="*/ 3863886 w 7718488"/>
              <a:gd name="connsiteY31" fmla="*/ 2420098 h 3099991"/>
              <a:gd name="connsiteX32" fmla="*/ 3868988 w 7718488"/>
              <a:gd name="connsiteY32" fmla="*/ 3064024 h 3099991"/>
              <a:gd name="connsiteX33" fmla="*/ 4224555 w 7718488"/>
              <a:gd name="connsiteY33" fmla="*/ 3064024 h 3099991"/>
              <a:gd name="connsiteX34" fmla="*/ 4632375 w 7718488"/>
              <a:gd name="connsiteY34" fmla="*/ 2420098 h 3099991"/>
              <a:gd name="connsiteX35" fmla="*/ 4899445 w 7718488"/>
              <a:gd name="connsiteY35" fmla="*/ 2420098 h 3099991"/>
              <a:gd name="connsiteX36" fmla="*/ 4761688 w 7718488"/>
              <a:gd name="connsiteY36" fmla="*/ 3064024 h 3099991"/>
              <a:gd name="connsiteX37" fmla="*/ 5178832 w 7718488"/>
              <a:gd name="connsiteY37" fmla="*/ 3064024 h 3099991"/>
              <a:gd name="connsiteX38" fmla="*/ 5314303 w 7718488"/>
              <a:gd name="connsiteY38" fmla="*/ 2420098 h 3099991"/>
              <a:gd name="connsiteX39" fmla="*/ 5555511 w 7718488"/>
              <a:gd name="connsiteY39" fmla="*/ 2420098 h 3099991"/>
              <a:gd name="connsiteX40" fmla="*/ 5729336 w 7718488"/>
              <a:gd name="connsiteY40" fmla="*/ 2922923 h 3099991"/>
              <a:gd name="connsiteX41" fmla="*/ 6322944 w 7718488"/>
              <a:gd name="connsiteY41" fmla="*/ 3099914 h 3099991"/>
              <a:gd name="connsiteX42" fmla="*/ 7097942 w 7718488"/>
              <a:gd name="connsiteY42" fmla="*/ 3004733 h 3099991"/>
              <a:gd name="connsiteX43" fmla="*/ 7242385 w 7718488"/>
              <a:gd name="connsiteY43" fmla="*/ 2420098 h 3099991"/>
              <a:gd name="connsiteX44" fmla="*/ 7718468 w 7718488"/>
              <a:gd name="connsiteY44" fmla="*/ 2420098 h 3099991"/>
              <a:gd name="connsiteX45" fmla="*/ 7718468 w 7718488"/>
              <a:gd name="connsiteY45" fmla="*/ -77 h 3099991"/>
              <a:gd name="connsiteX46" fmla="*/ 2089395 w 7718488"/>
              <a:gd name="connsiteY46" fmla="*/ 1492915 h 3099991"/>
              <a:gd name="connsiteX47" fmla="*/ 2064413 w 7718488"/>
              <a:gd name="connsiteY47" fmla="*/ 1575429 h 3099991"/>
              <a:gd name="connsiteX48" fmla="*/ 1836575 w 7718488"/>
              <a:gd name="connsiteY48" fmla="*/ 2333889 h 3099991"/>
              <a:gd name="connsiteX49" fmla="*/ 1827603 w 7718488"/>
              <a:gd name="connsiteY49" fmla="*/ 2360808 h 3099991"/>
              <a:gd name="connsiteX50" fmla="*/ 1078291 w 7718488"/>
              <a:gd name="connsiteY50" fmla="*/ 2360808 h 3099991"/>
              <a:gd name="connsiteX51" fmla="*/ 1019704 w 7718488"/>
              <a:gd name="connsiteY51" fmla="*/ 2237652 h 3099991"/>
              <a:gd name="connsiteX52" fmla="*/ 1827603 w 7718488"/>
              <a:gd name="connsiteY52" fmla="*/ 1411985 h 3099991"/>
              <a:gd name="connsiteX53" fmla="*/ 1308591 w 7718488"/>
              <a:gd name="connsiteY53" fmla="*/ 1411985 h 3099991"/>
              <a:gd name="connsiteX54" fmla="*/ 676805 w 7718488"/>
              <a:gd name="connsiteY54" fmla="*/ 2091274 h 3099991"/>
              <a:gd name="connsiteX55" fmla="*/ 881419 w 7718488"/>
              <a:gd name="connsiteY55" fmla="*/ 1410753 h 3099991"/>
              <a:gd name="connsiteX56" fmla="*/ 498582 w 7718488"/>
              <a:gd name="connsiteY56" fmla="*/ 1410753 h 3099991"/>
              <a:gd name="connsiteX57" fmla="*/ 498582 w 7718488"/>
              <a:gd name="connsiteY57" fmla="*/ 60972 h 3099991"/>
              <a:gd name="connsiteX58" fmla="*/ 2089395 w 7718488"/>
              <a:gd name="connsiteY58" fmla="*/ 60972 h 3099991"/>
              <a:gd name="connsiteX59" fmla="*/ 2531874 w 7718488"/>
              <a:gd name="connsiteY59" fmla="*/ 2133498 h 3099991"/>
              <a:gd name="connsiteX60" fmla="*/ 2531874 w 7718488"/>
              <a:gd name="connsiteY60" fmla="*/ 2133498 h 3099991"/>
              <a:gd name="connsiteX61" fmla="*/ 2483140 w 7718488"/>
              <a:gd name="connsiteY61" fmla="*/ 2135786 h 3099991"/>
              <a:gd name="connsiteX62" fmla="*/ 2424554 w 7718488"/>
              <a:gd name="connsiteY62" fmla="*/ 2135786 h 3099991"/>
              <a:gd name="connsiteX63" fmla="*/ 2322863 w 7718488"/>
              <a:gd name="connsiteY63" fmla="*/ 2135786 h 3099991"/>
              <a:gd name="connsiteX64" fmla="*/ 2369838 w 7718488"/>
              <a:gd name="connsiteY64" fmla="*/ 1961609 h 3099991"/>
              <a:gd name="connsiteX65" fmla="*/ 2392005 w 7718488"/>
              <a:gd name="connsiteY65" fmla="*/ 1874872 h 3099991"/>
              <a:gd name="connsiteX66" fmla="*/ 2445666 w 7718488"/>
              <a:gd name="connsiteY66" fmla="*/ 1672546 h 3099991"/>
              <a:gd name="connsiteX67" fmla="*/ 2514633 w 7718488"/>
              <a:gd name="connsiteY67" fmla="*/ 1671491 h 3099991"/>
              <a:gd name="connsiteX68" fmla="*/ 2593452 w 7718488"/>
              <a:gd name="connsiteY68" fmla="*/ 1671491 h 3099991"/>
              <a:gd name="connsiteX69" fmla="*/ 2844337 w 7718488"/>
              <a:gd name="connsiteY69" fmla="*/ 1722512 h 3099991"/>
              <a:gd name="connsiteX70" fmla="*/ 2837124 w 7718488"/>
              <a:gd name="connsiteY70" fmla="*/ 1896688 h 3099991"/>
              <a:gd name="connsiteX71" fmla="*/ 2532402 w 7718488"/>
              <a:gd name="connsiteY71" fmla="*/ 2133498 h 3099991"/>
              <a:gd name="connsiteX72" fmla="*/ 3690941 w 7718488"/>
              <a:gd name="connsiteY72" fmla="*/ 2359928 h 3099991"/>
              <a:gd name="connsiteX73" fmla="*/ 3858432 w 7718488"/>
              <a:gd name="connsiteY73" fmla="*/ 1764736 h 3099991"/>
              <a:gd name="connsiteX74" fmla="*/ 3864414 w 7718488"/>
              <a:gd name="connsiteY74" fmla="*/ 2359928 h 3099991"/>
              <a:gd name="connsiteX75" fmla="*/ 3944641 w 7718488"/>
              <a:gd name="connsiteY75" fmla="*/ 1408466 h 3099991"/>
              <a:gd name="connsiteX76" fmla="*/ 3546674 w 7718488"/>
              <a:gd name="connsiteY76" fmla="*/ 1408466 h 3099991"/>
              <a:gd name="connsiteX77" fmla="*/ 3273445 w 7718488"/>
              <a:gd name="connsiteY77" fmla="*/ 2359928 h 3099991"/>
              <a:gd name="connsiteX78" fmla="*/ 2851198 w 7718488"/>
              <a:gd name="connsiteY78" fmla="*/ 2359928 h 3099991"/>
              <a:gd name="connsiteX79" fmla="*/ 3238258 w 7718488"/>
              <a:gd name="connsiteY79" fmla="*/ 1902494 h 3099991"/>
              <a:gd name="connsiteX80" fmla="*/ 3184421 w 7718488"/>
              <a:gd name="connsiteY80" fmla="*/ 1525287 h 3099991"/>
              <a:gd name="connsiteX81" fmla="*/ 2671040 w 7718488"/>
              <a:gd name="connsiteY81" fmla="*/ 1407938 h 3099991"/>
              <a:gd name="connsiteX82" fmla="*/ 2354355 w 7718488"/>
              <a:gd name="connsiteY82" fmla="*/ 1407938 h 3099991"/>
              <a:gd name="connsiteX83" fmla="*/ 2354355 w 7718488"/>
              <a:gd name="connsiteY83" fmla="*/ 60972 h 3099991"/>
              <a:gd name="connsiteX84" fmla="*/ 3944641 w 7718488"/>
              <a:gd name="connsiteY84" fmla="*/ 60972 h 3099991"/>
              <a:gd name="connsiteX85" fmla="*/ 4912289 w 7718488"/>
              <a:gd name="connsiteY85" fmla="*/ 2359928 h 3099991"/>
              <a:gd name="connsiteX86" fmla="*/ 4672136 w 7718488"/>
              <a:gd name="connsiteY86" fmla="*/ 2359928 h 3099991"/>
              <a:gd name="connsiteX87" fmla="*/ 5035444 w 7718488"/>
              <a:gd name="connsiteY87" fmla="*/ 1789543 h 3099991"/>
              <a:gd name="connsiteX88" fmla="*/ 5801470 w 7718488"/>
              <a:gd name="connsiteY88" fmla="*/ 1435208 h 3099991"/>
              <a:gd name="connsiteX89" fmla="*/ 5800414 w 7718488"/>
              <a:gd name="connsiteY89" fmla="*/ 1764736 h 3099991"/>
              <a:gd name="connsiteX90" fmla="*/ 5588235 w 7718488"/>
              <a:gd name="connsiteY90" fmla="*/ 2220411 h 3099991"/>
              <a:gd name="connsiteX91" fmla="*/ 5563076 w 7718488"/>
              <a:gd name="connsiteY91" fmla="*/ 2359928 h 3099991"/>
              <a:gd name="connsiteX92" fmla="*/ 5329081 w 7718488"/>
              <a:gd name="connsiteY92" fmla="*/ 2359928 h 3099991"/>
              <a:gd name="connsiteX93" fmla="*/ 5528065 w 7718488"/>
              <a:gd name="connsiteY93" fmla="*/ 1410753 h 3099991"/>
              <a:gd name="connsiteX94" fmla="*/ 4854758 w 7718488"/>
              <a:gd name="connsiteY94" fmla="*/ 1410753 h 3099991"/>
              <a:gd name="connsiteX95" fmla="*/ 4252177 w 7718488"/>
              <a:gd name="connsiteY95" fmla="*/ 2360808 h 3099991"/>
              <a:gd name="connsiteX96" fmla="*/ 4208545 w 7718488"/>
              <a:gd name="connsiteY96" fmla="*/ 2360808 h 3099991"/>
              <a:gd name="connsiteX97" fmla="*/ 4208545 w 7718488"/>
              <a:gd name="connsiteY97" fmla="*/ 60972 h 3099991"/>
              <a:gd name="connsiteX98" fmla="*/ 5800766 w 7718488"/>
              <a:gd name="connsiteY98" fmla="*/ 60972 h 3099991"/>
              <a:gd name="connsiteX99" fmla="*/ 6718976 w 7718488"/>
              <a:gd name="connsiteY99" fmla="*/ 2748219 h 3099991"/>
              <a:gd name="connsiteX100" fmla="*/ 6451201 w 7718488"/>
              <a:gd name="connsiteY100" fmla="*/ 2775840 h 3099991"/>
              <a:gd name="connsiteX101" fmla="*/ 6058512 w 7718488"/>
              <a:gd name="connsiteY101" fmla="*/ 2420098 h 3099991"/>
              <a:gd name="connsiteX102" fmla="*/ 6800434 w 7718488"/>
              <a:gd name="connsiteY102" fmla="*/ 2420098 h 3099991"/>
              <a:gd name="connsiteX103" fmla="*/ 7658650 w 7718488"/>
              <a:gd name="connsiteY103" fmla="*/ 2359928 h 3099991"/>
              <a:gd name="connsiteX104" fmla="*/ 7256988 w 7718488"/>
              <a:gd name="connsiteY104" fmla="*/ 2359928 h 3099991"/>
              <a:gd name="connsiteX105" fmla="*/ 7322612 w 7718488"/>
              <a:gd name="connsiteY105" fmla="*/ 2094616 h 3099991"/>
              <a:gd name="connsiteX106" fmla="*/ 6519816 w 7718488"/>
              <a:gd name="connsiteY106" fmla="*/ 2094616 h 3099991"/>
              <a:gd name="connsiteX107" fmla="*/ 6453664 w 7718488"/>
              <a:gd name="connsiteY107" fmla="*/ 2359928 h 3099991"/>
              <a:gd name="connsiteX108" fmla="*/ 6065374 w 7718488"/>
              <a:gd name="connsiteY108" fmla="*/ 2359928 h 3099991"/>
              <a:gd name="connsiteX109" fmla="*/ 6065374 w 7718488"/>
              <a:gd name="connsiteY109" fmla="*/ 2305388 h 3099991"/>
              <a:gd name="connsiteX110" fmla="*/ 6084023 w 7718488"/>
              <a:gd name="connsiteY110" fmla="*/ 2210734 h 3099991"/>
              <a:gd name="connsiteX111" fmla="*/ 6667251 w 7718488"/>
              <a:gd name="connsiteY111" fmla="*/ 1642109 h 3099991"/>
              <a:gd name="connsiteX112" fmla="*/ 6905996 w 7718488"/>
              <a:gd name="connsiteY112" fmla="*/ 1868715 h 3099991"/>
              <a:gd name="connsiteX113" fmla="*/ 7383838 w 7718488"/>
              <a:gd name="connsiteY113" fmla="*/ 1868715 h 3099991"/>
              <a:gd name="connsiteX114" fmla="*/ 7344253 w 7718488"/>
              <a:gd name="connsiteY114" fmla="*/ 1514555 h 3099991"/>
              <a:gd name="connsiteX115" fmla="*/ 6770877 w 7718488"/>
              <a:gd name="connsiteY115" fmla="*/ 1316979 h 3099991"/>
              <a:gd name="connsiteX116" fmla="*/ 6065374 w 7718488"/>
              <a:gd name="connsiteY116" fmla="*/ 1503295 h 3099991"/>
              <a:gd name="connsiteX117" fmla="*/ 6065374 w 7718488"/>
              <a:gd name="connsiteY117" fmla="*/ 60621 h 3099991"/>
              <a:gd name="connsiteX118" fmla="*/ 7657946 w 7718488"/>
              <a:gd name="connsiteY118" fmla="*/ 60621 h 3099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7718488" h="3099991">
                <a:moveTo>
                  <a:pt x="6005027" y="-77"/>
                </a:moveTo>
                <a:lnTo>
                  <a:pt x="6005027" y="1546752"/>
                </a:lnTo>
                <a:cubicBezTo>
                  <a:pt x="5953197" y="1588097"/>
                  <a:pt x="5905324" y="1634157"/>
                  <a:pt x="5861992" y="1684334"/>
                </a:cubicBezTo>
                <a:lnTo>
                  <a:pt x="5861992" y="-77"/>
                </a:lnTo>
                <a:lnTo>
                  <a:pt x="4148727" y="-77"/>
                </a:lnTo>
                <a:lnTo>
                  <a:pt x="4148727" y="1408466"/>
                </a:lnTo>
                <a:lnTo>
                  <a:pt x="4006746" y="1408466"/>
                </a:lnTo>
                <a:lnTo>
                  <a:pt x="4006746" y="-77"/>
                </a:lnTo>
                <a:lnTo>
                  <a:pt x="2292953" y="-77"/>
                </a:lnTo>
                <a:lnTo>
                  <a:pt x="2292953" y="1410753"/>
                </a:lnTo>
                <a:lnTo>
                  <a:pt x="2151149" y="1410753"/>
                </a:lnTo>
                <a:lnTo>
                  <a:pt x="2151149" y="-77"/>
                </a:lnTo>
                <a:lnTo>
                  <a:pt x="437180" y="-77"/>
                </a:lnTo>
                <a:lnTo>
                  <a:pt x="437180" y="1607802"/>
                </a:lnTo>
                <a:lnTo>
                  <a:pt x="-21" y="3065783"/>
                </a:lnTo>
                <a:lnTo>
                  <a:pt x="384575" y="3065783"/>
                </a:lnTo>
                <a:lnTo>
                  <a:pt x="578105" y="2420098"/>
                </a:lnTo>
                <a:lnTo>
                  <a:pt x="633701" y="2420098"/>
                </a:lnTo>
                <a:lnTo>
                  <a:pt x="952673" y="3065783"/>
                </a:lnTo>
                <a:lnTo>
                  <a:pt x="1417144" y="3065783"/>
                </a:lnTo>
                <a:lnTo>
                  <a:pt x="1107496" y="2420098"/>
                </a:lnTo>
                <a:lnTo>
                  <a:pt x="1809657" y="2420098"/>
                </a:lnTo>
                <a:lnTo>
                  <a:pt x="1614896" y="3065783"/>
                </a:lnTo>
                <a:lnTo>
                  <a:pt x="2035207" y="3065783"/>
                </a:lnTo>
                <a:lnTo>
                  <a:pt x="2227329" y="2421857"/>
                </a:lnTo>
                <a:lnTo>
                  <a:pt x="2319696" y="2421857"/>
                </a:lnTo>
                <a:lnTo>
                  <a:pt x="2319696" y="2420098"/>
                </a:lnTo>
                <a:lnTo>
                  <a:pt x="3255324" y="2420098"/>
                </a:lnTo>
                <a:lnTo>
                  <a:pt x="3069711" y="3064024"/>
                </a:lnTo>
                <a:lnTo>
                  <a:pt x="3493541" y="3064024"/>
                </a:lnTo>
                <a:lnTo>
                  <a:pt x="3673172" y="2420098"/>
                </a:lnTo>
                <a:lnTo>
                  <a:pt x="3863886" y="2420098"/>
                </a:lnTo>
                <a:lnTo>
                  <a:pt x="3868988" y="3064024"/>
                </a:lnTo>
                <a:lnTo>
                  <a:pt x="4224555" y="3064024"/>
                </a:lnTo>
                <a:lnTo>
                  <a:pt x="4632375" y="2420098"/>
                </a:lnTo>
                <a:lnTo>
                  <a:pt x="4899445" y="2420098"/>
                </a:lnTo>
                <a:lnTo>
                  <a:pt x="4761688" y="3064024"/>
                </a:lnTo>
                <a:lnTo>
                  <a:pt x="5178832" y="3064024"/>
                </a:lnTo>
                <a:lnTo>
                  <a:pt x="5314303" y="2420098"/>
                </a:lnTo>
                <a:lnTo>
                  <a:pt x="5555511" y="2420098"/>
                </a:lnTo>
                <a:cubicBezTo>
                  <a:pt x="5546010" y="2619609"/>
                  <a:pt x="5597032" y="2800999"/>
                  <a:pt x="5729336" y="2922923"/>
                </a:cubicBezTo>
                <a:cubicBezTo>
                  <a:pt x="5891197" y="3071413"/>
                  <a:pt x="6139091" y="3099914"/>
                  <a:pt x="6322944" y="3099914"/>
                </a:cubicBezTo>
                <a:cubicBezTo>
                  <a:pt x="6583998" y="3096836"/>
                  <a:pt x="6843908" y="3064903"/>
                  <a:pt x="7097942" y="3004733"/>
                </a:cubicBezTo>
                <a:lnTo>
                  <a:pt x="7242385" y="2420098"/>
                </a:lnTo>
                <a:lnTo>
                  <a:pt x="7718468" y="2420098"/>
                </a:lnTo>
                <a:lnTo>
                  <a:pt x="7718468" y="-77"/>
                </a:lnTo>
                <a:close/>
                <a:moveTo>
                  <a:pt x="2089395" y="1492915"/>
                </a:moveTo>
                <a:lnTo>
                  <a:pt x="2064413" y="1575429"/>
                </a:lnTo>
                <a:lnTo>
                  <a:pt x="1836575" y="2333889"/>
                </a:lnTo>
                <a:lnTo>
                  <a:pt x="1827603" y="2360808"/>
                </a:lnTo>
                <a:lnTo>
                  <a:pt x="1078291" y="2360808"/>
                </a:lnTo>
                <a:lnTo>
                  <a:pt x="1019704" y="2237652"/>
                </a:lnTo>
                <a:lnTo>
                  <a:pt x="1827603" y="1411985"/>
                </a:lnTo>
                <a:lnTo>
                  <a:pt x="1308591" y="1411985"/>
                </a:lnTo>
                <a:lnTo>
                  <a:pt x="676805" y="2091274"/>
                </a:lnTo>
                <a:lnTo>
                  <a:pt x="881419" y="1410753"/>
                </a:lnTo>
                <a:lnTo>
                  <a:pt x="498582" y="1410753"/>
                </a:lnTo>
                <a:lnTo>
                  <a:pt x="498582" y="60972"/>
                </a:lnTo>
                <a:lnTo>
                  <a:pt x="2089395" y="60972"/>
                </a:lnTo>
                <a:close/>
                <a:moveTo>
                  <a:pt x="2531874" y="2133498"/>
                </a:moveTo>
                <a:lnTo>
                  <a:pt x="2531874" y="2133498"/>
                </a:lnTo>
                <a:cubicBezTo>
                  <a:pt x="2516568" y="2133498"/>
                  <a:pt x="2500910" y="2135786"/>
                  <a:pt x="2483140" y="2135786"/>
                </a:cubicBezTo>
                <a:cubicBezTo>
                  <a:pt x="2459741" y="2135786"/>
                  <a:pt x="2441795" y="2135786"/>
                  <a:pt x="2424554" y="2135786"/>
                </a:cubicBezTo>
                <a:lnTo>
                  <a:pt x="2322863" y="2135786"/>
                </a:lnTo>
                <a:lnTo>
                  <a:pt x="2369838" y="1961609"/>
                </a:lnTo>
                <a:lnTo>
                  <a:pt x="2392005" y="1874872"/>
                </a:lnTo>
                <a:lnTo>
                  <a:pt x="2445666" y="1672546"/>
                </a:lnTo>
                <a:cubicBezTo>
                  <a:pt x="2469417" y="1672546"/>
                  <a:pt x="2492465" y="1671491"/>
                  <a:pt x="2514633" y="1671491"/>
                </a:cubicBezTo>
                <a:lnTo>
                  <a:pt x="2593452" y="1671491"/>
                </a:lnTo>
                <a:cubicBezTo>
                  <a:pt x="2728219" y="1671491"/>
                  <a:pt x="2813372" y="1679231"/>
                  <a:pt x="2844337" y="1722512"/>
                </a:cubicBezTo>
                <a:cubicBezTo>
                  <a:pt x="2867912" y="1755060"/>
                  <a:pt x="2865097" y="1811360"/>
                  <a:pt x="2837124" y="1896688"/>
                </a:cubicBezTo>
                <a:cubicBezTo>
                  <a:pt x="2788917" y="2043771"/>
                  <a:pt x="2728219" y="2118544"/>
                  <a:pt x="2532402" y="2133498"/>
                </a:cubicBezTo>
                <a:moveTo>
                  <a:pt x="3690941" y="2359928"/>
                </a:moveTo>
                <a:lnTo>
                  <a:pt x="3858432" y="1764736"/>
                </a:lnTo>
                <a:lnTo>
                  <a:pt x="3864414" y="2359928"/>
                </a:lnTo>
                <a:close/>
                <a:moveTo>
                  <a:pt x="3944641" y="1408466"/>
                </a:moveTo>
                <a:lnTo>
                  <a:pt x="3546674" y="1408466"/>
                </a:lnTo>
                <a:lnTo>
                  <a:pt x="3273445" y="2359928"/>
                </a:lnTo>
                <a:lnTo>
                  <a:pt x="2851198" y="2359928"/>
                </a:lnTo>
                <a:cubicBezTo>
                  <a:pt x="3066368" y="2280229"/>
                  <a:pt x="3197265" y="2128220"/>
                  <a:pt x="3238258" y="1902494"/>
                </a:cubicBezTo>
                <a:cubicBezTo>
                  <a:pt x="3271685" y="1726558"/>
                  <a:pt x="3255851" y="1611672"/>
                  <a:pt x="3184421" y="1525287"/>
                </a:cubicBezTo>
                <a:cubicBezTo>
                  <a:pt x="3077100" y="1396854"/>
                  <a:pt x="2861931" y="1407938"/>
                  <a:pt x="2671040" y="1407938"/>
                </a:cubicBezTo>
                <a:lnTo>
                  <a:pt x="2354355" y="1407938"/>
                </a:lnTo>
                <a:lnTo>
                  <a:pt x="2354355" y="60972"/>
                </a:lnTo>
                <a:lnTo>
                  <a:pt x="3944641" y="60972"/>
                </a:lnTo>
                <a:close/>
                <a:moveTo>
                  <a:pt x="4912289" y="2359928"/>
                </a:moveTo>
                <a:lnTo>
                  <a:pt x="4672136" y="2359928"/>
                </a:lnTo>
                <a:lnTo>
                  <a:pt x="5035444" y="1789543"/>
                </a:lnTo>
                <a:close/>
                <a:moveTo>
                  <a:pt x="5801470" y="1435208"/>
                </a:moveTo>
                <a:lnTo>
                  <a:pt x="5800414" y="1764736"/>
                </a:lnTo>
                <a:cubicBezTo>
                  <a:pt x="5701327" y="1901738"/>
                  <a:pt x="5629298" y="2056403"/>
                  <a:pt x="5588235" y="2220411"/>
                </a:cubicBezTo>
                <a:cubicBezTo>
                  <a:pt x="5576254" y="2266189"/>
                  <a:pt x="5567844" y="2312847"/>
                  <a:pt x="5563076" y="2359928"/>
                </a:cubicBezTo>
                <a:lnTo>
                  <a:pt x="5329081" y="2359928"/>
                </a:lnTo>
                <a:lnTo>
                  <a:pt x="5528065" y="1410753"/>
                </a:lnTo>
                <a:lnTo>
                  <a:pt x="4854758" y="1410753"/>
                </a:lnTo>
                <a:lnTo>
                  <a:pt x="4252177" y="2360808"/>
                </a:lnTo>
                <a:lnTo>
                  <a:pt x="4208545" y="2360808"/>
                </a:lnTo>
                <a:lnTo>
                  <a:pt x="4208545" y="60972"/>
                </a:lnTo>
                <a:lnTo>
                  <a:pt x="5800766" y="60972"/>
                </a:lnTo>
                <a:close/>
                <a:moveTo>
                  <a:pt x="6718976" y="2748219"/>
                </a:moveTo>
                <a:cubicBezTo>
                  <a:pt x="6630709" y="2765355"/>
                  <a:pt x="6541104" y="2774591"/>
                  <a:pt x="6451201" y="2775840"/>
                </a:cubicBezTo>
                <a:cubicBezTo>
                  <a:pt x="6221605" y="2775840"/>
                  <a:pt x="6061855" y="2669047"/>
                  <a:pt x="6058512" y="2420098"/>
                </a:cubicBezTo>
                <a:lnTo>
                  <a:pt x="6800434" y="2420098"/>
                </a:lnTo>
                <a:close/>
                <a:moveTo>
                  <a:pt x="7658650" y="2359928"/>
                </a:moveTo>
                <a:lnTo>
                  <a:pt x="7256988" y="2359928"/>
                </a:lnTo>
                <a:lnTo>
                  <a:pt x="7322612" y="2094616"/>
                </a:lnTo>
                <a:lnTo>
                  <a:pt x="6519816" y="2094616"/>
                </a:lnTo>
                <a:lnTo>
                  <a:pt x="6453664" y="2359928"/>
                </a:lnTo>
                <a:lnTo>
                  <a:pt x="6065374" y="2359928"/>
                </a:lnTo>
                <a:lnTo>
                  <a:pt x="6065374" y="2305388"/>
                </a:lnTo>
                <a:cubicBezTo>
                  <a:pt x="6071355" y="2275479"/>
                  <a:pt x="6076458" y="2244162"/>
                  <a:pt x="6084023" y="2210734"/>
                </a:cubicBezTo>
                <a:cubicBezTo>
                  <a:pt x="6154397" y="1924662"/>
                  <a:pt x="6342648" y="1642109"/>
                  <a:pt x="6667251" y="1642109"/>
                </a:cubicBezTo>
                <a:cubicBezTo>
                  <a:pt x="6795684" y="1642109"/>
                  <a:pt x="6923413" y="1691019"/>
                  <a:pt x="6905996" y="1868715"/>
                </a:cubicBezTo>
                <a:lnTo>
                  <a:pt x="7383838" y="1868715"/>
                </a:lnTo>
                <a:cubicBezTo>
                  <a:pt x="7402839" y="1785849"/>
                  <a:pt x="7434332" y="1644572"/>
                  <a:pt x="7344253" y="1514555"/>
                </a:cubicBezTo>
                <a:cubicBezTo>
                  <a:pt x="7242385" y="1373807"/>
                  <a:pt x="7037244" y="1316979"/>
                  <a:pt x="6770877" y="1316979"/>
                </a:cubicBezTo>
                <a:cubicBezTo>
                  <a:pt x="6581570" y="1316979"/>
                  <a:pt x="6304647" y="1347240"/>
                  <a:pt x="6065374" y="1503295"/>
                </a:cubicBezTo>
                <a:lnTo>
                  <a:pt x="6065374" y="60621"/>
                </a:lnTo>
                <a:lnTo>
                  <a:pt x="7657946" y="60621"/>
                </a:lnTo>
                <a:close/>
              </a:path>
            </a:pathLst>
          </a:custGeom>
          <a:solidFill>
            <a:schemeClr val="accent2"/>
          </a:solidFill>
          <a:ln w="1757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Shape 8">
            <a:extLst>
              <a:ext uri="{FF2B5EF4-FFF2-40B4-BE49-F238E27FC236}">
                <a16:creationId xmlns:a16="http://schemas.microsoft.com/office/drawing/2014/main" id="{4FB16981-6B82-4675-8BD2-16F7F9ECDD5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3" name="Freeform 19">
            <a:extLst>
              <a:ext uri="{FF2B5EF4-FFF2-40B4-BE49-F238E27FC236}">
                <a16:creationId xmlns:a16="http://schemas.microsoft.com/office/drawing/2014/main" id="{5D4B1157-B5C0-4AD9-BA1D-B6C821264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18B8CBB-ED87-4C39-9AC3-A1B4F02BEE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D1DF9C6-DFC5-4AB2-833E-C58C8F901A0B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72792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45BA5F7-F13B-4C20-B0E0-112E55400EE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98476" y="431800"/>
            <a:ext cx="3764161" cy="5445126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89910" y="1482358"/>
            <a:ext cx="5301922" cy="344622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729193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5489910" y="5035866"/>
            <a:ext cx="5301922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Freeform 19">
            <a:extLst>
              <a:ext uri="{FF2B5EF4-FFF2-40B4-BE49-F238E27FC236}">
                <a16:creationId xmlns:a16="http://schemas.microsoft.com/office/drawing/2014/main" id="{8CCE579D-9189-4FA0-AA19-DE69E2B5307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491560" y="371311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474452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74841" y="1764699"/>
            <a:ext cx="5765982" cy="2903488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251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74841" y="4752155"/>
            <a:ext cx="5765982" cy="816606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289677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/>
          </p:cNvSpPr>
          <p:nvPr userDrawn="1"/>
        </p:nvSpPr>
        <p:spPr>
          <a:xfrm>
            <a:off x="998477" y="1485244"/>
            <a:ext cx="6277559" cy="4360622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43200" tIns="143200" rIns="143200" bIns="1432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7002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74841" y="1764700"/>
            <a:ext cx="5719338" cy="2880000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251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KPMG Blue | </a:t>
            </a:r>
            <a:br>
              <a:rPr lang="en-GB"/>
            </a:br>
            <a:r>
              <a:rPr lang="en-GB"/>
              <a:t>Title slide text only</a:t>
            </a:r>
            <a:endParaRPr lang="en-US"/>
          </a:p>
        </p:txBody>
      </p:sp>
      <p:sp>
        <p:nvSpPr>
          <p:cNvPr id="7" name="Freeform 19">
            <a:extLst>
              <a:ext uri="{FF2B5EF4-FFF2-40B4-BE49-F238E27FC236}">
                <a16:creationId xmlns:a16="http://schemas.microsoft.com/office/drawing/2014/main" id="{A5A5FA9B-A901-4A1F-9358-436BDE66E0B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371312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74841" y="4752154"/>
            <a:ext cx="5719338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217766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331BAC5B-20A9-435F-8C24-21445B9F4ED5}"/>
              </a:ext>
            </a:extLst>
          </p:cNvPr>
          <p:cNvSpPr>
            <a:spLocks/>
          </p:cNvSpPr>
          <p:nvPr userDrawn="1"/>
        </p:nvSpPr>
        <p:spPr>
          <a:xfrm>
            <a:off x="998476" y="1485244"/>
            <a:ext cx="3030599" cy="4360622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43200" tIns="143200" rIns="143200" bIns="1432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7002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74842" y="1764700"/>
            <a:ext cx="2469675" cy="2880000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251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7" name="Freeform 19">
            <a:extLst>
              <a:ext uri="{FF2B5EF4-FFF2-40B4-BE49-F238E27FC236}">
                <a16:creationId xmlns:a16="http://schemas.microsoft.com/office/drawing/2014/main" id="{A5A5FA9B-A901-4A1F-9358-436BDE66E0B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371312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1274842" y="4752154"/>
            <a:ext cx="2469675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3817035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/>
          </p:cNvSpPr>
          <p:nvPr userDrawn="1"/>
        </p:nvSpPr>
        <p:spPr>
          <a:xfrm>
            <a:off x="3405717" y="383795"/>
            <a:ext cx="7794097" cy="541406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43200" tIns="143200" rIns="143200" bIns="1432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7002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Freeform 19">
            <a:extLst>
              <a:ext uri="{FF2B5EF4-FFF2-40B4-BE49-F238E27FC236}">
                <a16:creationId xmlns:a16="http://schemas.microsoft.com/office/drawing/2014/main" id="{A5A5FA9B-A901-4A1F-9358-436BDE66E0B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371312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C1A25C-9C23-47D0-BC86-BD2474043CD3}"/>
              </a:ext>
            </a:extLst>
          </p:cNvPr>
          <p:cNvGrpSpPr/>
          <p:nvPr userDrawn="1"/>
        </p:nvGrpSpPr>
        <p:grpSpPr>
          <a:xfrm>
            <a:off x="998476" y="0"/>
            <a:ext cx="911399" cy="1485244"/>
            <a:chOff x="1008000" y="0"/>
            <a:chExt cx="911399" cy="1485244"/>
          </a:xfrm>
          <a:solidFill>
            <a:schemeClr val="bg1">
              <a:alpha val="0"/>
            </a:schemeClr>
          </a:solidFill>
        </p:grpSpPr>
        <p:sp>
          <p:nvSpPr>
            <p:cNvPr id="5" name="Freeform 19">
              <a:extLst>
                <a:ext uri="{FF2B5EF4-FFF2-40B4-BE49-F238E27FC236}">
                  <a16:creationId xmlns:a16="http://schemas.microsoft.com/office/drawing/2014/main" id="{EEC5B735-00AD-41B9-A513-0F7783FFBE36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0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32"/>
            </a:p>
          </p:txBody>
        </p:sp>
        <p:sp>
          <p:nvSpPr>
            <p:cNvPr id="8" name="Freeform 19">
              <a:extLst>
                <a:ext uri="{FF2B5EF4-FFF2-40B4-BE49-F238E27FC236}">
                  <a16:creationId xmlns:a16="http://schemas.microsoft.com/office/drawing/2014/main" id="{C5CCCCF1-8E34-4341-A6C5-97CC39680E55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742622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32"/>
            </a:p>
          </p:txBody>
        </p:sp>
        <p:sp>
          <p:nvSpPr>
            <p:cNvPr id="9" name="Freeform 19">
              <a:extLst>
                <a:ext uri="{FF2B5EF4-FFF2-40B4-BE49-F238E27FC236}">
                  <a16:creationId xmlns:a16="http://schemas.microsoft.com/office/drawing/2014/main" id="{162D722E-1D64-4D54-98B6-8466501BFD3D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1113933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32"/>
            </a:p>
          </p:txBody>
        </p:sp>
      </p:grp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672180" y="4722969"/>
            <a:ext cx="7260639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BA9E5DDB-2262-4657-AA4F-9CE87AA83B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1124" y="649292"/>
            <a:ext cx="7260639" cy="3950972"/>
          </a:xfrm>
        </p:spPr>
        <p:txBody>
          <a:bodyPr/>
          <a:lstStyle>
            <a:lvl1pPr>
              <a:defRPr lang="en-GB" sz="5251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3022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19">
            <a:extLst>
              <a:ext uri="{FF2B5EF4-FFF2-40B4-BE49-F238E27FC236}">
                <a16:creationId xmlns:a16="http://schemas.microsoft.com/office/drawing/2014/main" id="{A5A5FA9B-A901-4A1F-9358-436BDE66E0B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371312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C1A25C-9C23-47D0-BC86-BD2474043CD3}"/>
              </a:ext>
            </a:extLst>
          </p:cNvPr>
          <p:cNvGrpSpPr/>
          <p:nvPr userDrawn="1"/>
        </p:nvGrpSpPr>
        <p:grpSpPr>
          <a:xfrm>
            <a:off x="998476" y="0"/>
            <a:ext cx="911399" cy="1485244"/>
            <a:chOff x="1008000" y="0"/>
            <a:chExt cx="911399" cy="1485244"/>
          </a:xfrm>
          <a:solidFill>
            <a:schemeClr val="bg1">
              <a:alpha val="0"/>
            </a:schemeClr>
          </a:solidFill>
        </p:grpSpPr>
        <p:sp>
          <p:nvSpPr>
            <p:cNvPr id="5" name="Freeform 19">
              <a:extLst>
                <a:ext uri="{FF2B5EF4-FFF2-40B4-BE49-F238E27FC236}">
                  <a16:creationId xmlns:a16="http://schemas.microsoft.com/office/drawing/2014/main" id="{EEC5B735-00AD-41B9-A513-0F7783FFBE36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0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32"/>
            </a:p>
          </p:txBody>
        </p:sp>
        <p:sp>
          <p:nvSpPr>
            <p:cNvPr id="8" name="Freeform 19">
              <a:extLst>
                <a:ext uri="{FF2B5EF4-FFF2-40B4-BE49-F238E27FC236}">
                  <a16:creationId xmlns:a16="http://schemas.microsoft.com/office/drawing/2014/main" id="{C5CCCCF1-8E34-4341-A6C5-97CC39680E55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742622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32"/>
            </a:p>
          </p:txBody>
        </p:sp>
        <p:sp>
          <p:nvSpPr>
            <p:cNvPr id="9" name="Freeform 19">
              <a:extLst>
                <a:ext uri="{FF2B5EF4-FFF2-40B4-BE49-F238E27FC236}">
                  <a16:creationId xmlns:a16="http://schemas.microsoft.com/office/drawing/2014/main" id="{162D722E-1D64-4D54-98B6-8466501BFD3D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1113933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32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A6246C3-5BC1-4146-9E95-B8B3F1B77C22}"/>
              </a:ext>
            </a:extLst>
          </p:cNvPr>
          <p:cNvSpPr>
            <a:spLocks/>
          </p:cNvSpPr>
          <p:nvPr userDrawn="1"/>
        </p:nvSpPr>
        <p:spPr>
          <a:xfrm>
            <a:off x="7435790" y="383796"/>
            <a:ext cx="3764024" cy="5415923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43200" tIns="143200" rIns="143200" bIns="1432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7002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E9A5689E-A0AC-4126-A5A7-5CD8528C6C2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702252" y="4722969"/>
            <a:ext cx="3229510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702252" y="649292"/>
            <a:ext cx="3229510" cy="3950972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251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07968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200E6EA-7AA4-4C98-8E47-F5F83446E0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98477" y="1525530"/>
            <a:ext cx="5904966" cy="4101805"/>
          </a:xfrm>
          <a:solidFill>
            <a:schemeClr val="accent1"/>
          </a:solidFill>
        </p:spPr>
        <p:txBody>
          <a:bodyPr anchor="ctr"/>
          <a:lstStyle>
            <a:lvl1pPr algn="ctr">
              <a:defRPr sz="796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48627" y="1516433"/>
            <a:ext cx="3551186" cy="3098109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251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129528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872150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648627" y="4817336"/>
            <a:ext cx="355118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Freeform 19">
            <a:extLst>
              <a:ext uri="{FF2B5EF4-FFF2-40B4-BE49-F238E27FC236}">
                <a16:creationId xmlns:a16="http://schemas.microsoft.com/office/drawing/2014/main" id="{63FF197E-1AE7-4604-B3DB-21B6EC50973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7347" y="371312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</p:spTree>
    <p:extLst>
      <p:ext uri="{BB962C8B-B14F-4D97-AF65-F5344CB8AC3E}">
        <p14:creationId xmlns:p14="http://schemas.microsoft.com/office/powerpoint/2010/main" val="411746047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45BA5F7-F13B-4C20-B0E0-112E55400EE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98477" y="431801"/>
            <a:ext cx="3764161" cy="5445126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796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89910" y="1482359"/>
            <a:ext cx="5301922" cy="344622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251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729193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5489910" y="5035867"/>
            <a:ext cx="5301922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Freeform 19">
            <a:extLst>
              <a:ext uri="{FF2B5EF4-FFF2-40B4-BE49-F238E27FC236}">
                <a16:creationId xmlns:a16="http://schemas.microsoft.com/office/drawing/2014/main" id="{8CCE579D-9189-4FA0-AA19-DE69E2B5307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491560" y="371312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</p:spTree>
    <p:extLst>
      <p:ext uri="{BB962C8B-B14F-4D97-AF65-F5344CB8AC3E}">
        <p14:creationId xmlns:p14="http://schemas.microsoft.com/office/powerpoint/2010/main" val="76358370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129528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872150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D0B9D96-907F-4E37-B5A7-830AD095F22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15966" y="1500838"/>
            <a:ext cx="6277559" cy="4360622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796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Freeform 19">
            <a:extLst>
              <a:ext uri="{FF2B5EF4-FFF2-40B4-BE49-F238E27FC236}">
                <a16:creationId xmlns:a16="http://schemas.microsoft.com/office/drawing/2014/main" id="{97111BA8-613B-4984-9EA2-0B67CA521CB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371312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E8E14845-BB2E-4EA2-8CBD-F35A520E36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8478" y="1500838"/>
            <a:ext cx="3174866" cy="342774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251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423222F2-0E39-45E4-8918-49125CD7C1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8478" y="5035867"/>
            <a:ext cx="317486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4843513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98476" y="1485900"/>
            <a:ext cx="5249471" cy="3442681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5251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275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35758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275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998476" y="5035867"/>
            <a:ext cx="5249471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3BD1F9C-C7CA-4162-BCD4-0E8701D3007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422732" y="431802"/>
            <a:ext cx="3770792" cy="5454717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796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Freeform 19">
            <a:extLst>
              <a:ext uri="{FF2B5EF4-FFF2-40B4-BE49-F238E27FC236}">
                <a16:creationId xmlns:a16="http://schemas.microsoft.com/office/drawing/2014/main" id="{91BD7904-A0EC-4665-99EF-039A51C5C5B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371312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275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347478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13238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D0B9D96-907F-4E37-B5A7-830AD095F22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15965" y="1500838"/>
            <a:ext cx="6277559" cy="4360622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Freeform 19">
            <a:extLst>
              <a:ext uri="{FF2B5EF4-FFF2-40B4-BE49-F238E27FC236}">
                <a16:creationId xmlns:a16="http://schemas.microsoft.com/office/drawing/2014/main" id="{97111BA8-613B-4984-9EA2-0B67CA521CB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371311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E8E14845-BB2E-4EA2-8CBD-F35A520E36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8478" y="1500838"/>
            <a:ext cx="3174866" cy="342774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423222F2-0E39-45E4-8918-49125CD7C1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8478" y="5035866"/>
            <a:ext cx="317486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2617521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rgbClr val="ACEA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314359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8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796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796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8"/>
            <a:ext cx="4623066" cy="146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275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477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8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eform 19">
            <a:extLst>
              <a:ext uri="{FF2B5EF4-FFF2-40B4-BE49-F238E27FC236}">
                <a16:creationId xmlns:a16="http://schemas.microsoft.com/office/drawing/2014/main" id="{A1296748-6809-4EDB-A55F-B8B1F862AD8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2907" y="6264658"/>
            <a:ext cx="582868" cy="19923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</p:spTree>
    <p:extLst>
      <p:ext uri="{BB962C8B-B14F-4D97-AF65-F5344CB8AC3E}">
        <p14:creationId xmlns:p14="http://schemas.microsoft.com/office/powerpoint/2010/main" val="249817721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8401" y="1330127"/>
            <a:ext cx="101952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147500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_doub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9" y="1700213"/>
            <a:ext cx="10201275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7775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1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_double titl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9" y="1700213"/>
            <a:ext cx="10201275" cy="4176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 marL="287972" indent="-143986"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F4561A05-7671-4539-AB97-A9979F67EB43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8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796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796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Freeform 19">
            <a:extLst>
              <a:ext uri="{FF2B5EF4-FFF2-40B4-BE49-F238E27FC236}">
                <a16:creationId xmlns:a16="http://schemas.microsoft.com/office/drawing/2014/main" id="{96D02435-216E-4CEB-A47D-16F13A8C60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3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BF1CF3-C473-4B59-9814-FFEC4D26E8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8"/>
            <a:ext cx="4623066" cy="146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275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477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9D5ED2D-F17F-4481-8AE6-4D9EA0535145}"/>
              </a:ext>
            </a:extLst>
          </p:cNvPr>
          <p:cNvCxnSpPr/>
          <p:nvPr userDrawn="1"/>
        </p:nvCxnSpPr>
        <p:spPr>
          <a:xfrm>
            <a:off x="10928548" y="6266998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05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1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03200" y="432001"/>
            <a:ext cx="10195200" cy="53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8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796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796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989CBA86-3836-4832-B1AE-9FEA1A8FB1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3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8"/>
            <a:ext cx="4623066" cy="146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275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477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8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1" y="1330126"/>
            <a:ext cx="102012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921359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1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1330127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7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268373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03200" y="432001"/>
            <a:ext cx="10195200" cy="533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8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796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796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989CBA86-3836-4832-B1AE-9FEA1A8FB1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3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8"/>
            <a:ext cx="4623066" cy="146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275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77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8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4968000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ED3211B-3C86-4413-BA20-A4F81B443B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20802" y="1330126"/>
            <a:ext cx="49688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593578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1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1330127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220800" y="1330127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005990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1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10195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1003200" y="3742126"/>
            <a:ext cx="10195200" cy="213574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90055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98476" y="1485900"/>
            <a:ext cx="5249471" cy="3442681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357588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998476" y="5035866"/>
            <a:ext cx="5249471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3BD1F9C-C7CA-4162-BCD4-0E8701D3007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422732" y="431801"/>
            <a:ext cx="3770792" cy="5454717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Freeform 19">
            <a:extLst>
              <a:ext uri="{FF2B5EF4-FFF2-40B4-BE49-F238E27FC236}">
                <a16:creationId xmlns:a16="http://schemas.microsoft.com/office/drawing/2014/main" id="{91BD7904-A0EC-4665-99EF-039A51C5C5B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371311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820827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1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220800" y="1330127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1" y="1330127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13702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1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507547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11892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07547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11892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553871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1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003201" y="3500437"/>
            <a:ext cx="2448000" cy="517193"/>
          </a:xfrm>
        </p:spPr>
        <p:txBody>
          <a:bodyPr>
            <a:spAutoFit/>
          </a:bodyPr>
          <a:lstStyle>
            <a:lvl1pPr>
              <a:defRPr sz="1910">
                <a:solidFill>
                  <a:schemeClr val="accent1"/>
                </a:solidFill>
                <a:latin typeface="+mj-lt"/>
              </a:defRPr>
            </a:lvl1pPr>
            <a:lvl2pPr>
              <a:defRPr sz="1034"/>
            </a:lvl2pPr>
          </a:lstStyle>
          <a:p>
            <a:pPr lvl="0"/>
            <a:r>
              <a:rPr lang="en-US"/>
              <a:t>Partner Name</a:t>
            </a:r>
          </a:p>
          <a:p>
            <a:pPr lvl="1"/>
            <a:r>
              <a:rPr lang="en-US"/>
              <a:t>Sector Nam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2433" y="3500437"/>
            <a:ext cx="2448000" cy="517193"/>
          </a:xfrm>
        </p:spPr>
        <p:txBody>
          <a:bodyPr>
            <a:spAutoFit/>
          </a:bodyPr>
          <a:lstStyle>
            <a:lvl1pPr>
              <a:defRPr sz="1910">
                <a:latin typeface="+mj-lt"/>
              </a:defRPr>
            </a:lvl1pPr>
            <a:lvl2pPr>
              <a:defRPr sz="1034"/>
            </a:lvl2pPr>
          </a:lstStyle>
          <a:p>
            <a:pPr lvl="0"/>
            <a:r>
              <a:rPr lang="en-US"/>
              <a:t>Partner Name</a:t>
            </a:r>
          </a:p>
          <a:p>
            <a:pPr lvl="1"/>
            <a:r>
              <a:rPr lang="en-US"/>
              <a:t>Sector Nam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161567" y="3500437"/>
            <a:ext cx="2448000" cy="517193"/>
          </a:xfrm>
        </p:spPr>
        <p:txBody>
          <a:bodyPr>
            <a:spAutoFit/>
          </a:bodyPr>
          <a:lstStyle>
            <a:lvl1pPr>
              <a:defRPr sz="1910">
                <a:solidFill>
                  <a:schemeClr val="accent4"/>
                </a:solidFill>
                <a:latin typeface="+mj-lt"/>
              </a:defRPr>
            </a:lvl1pPr>
            <a:lvl2pPr>
              <a:defRPr sz="1034"/>
            </a:lvl2pPr>
          </a:lstStyle>
          <a:p>
            <a:pPr lvl="0"/>
            <a:r>
              <a:rPr lang="en-US"/>
              <a:t>Partner Name</a:t>
            </a:r>
          </a:p>
          <a:p>
            <a:pPr lvl="1"/>
            <a:r>
              <a:rPr lang="en-US"/>
              <a:t>Sector Nam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6D499DA-AB3A-42FA-AEC3-59074A9B143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03300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30087E5F-B6BA-4B21-AEE1-13ECBDE2B7A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582433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787444CB-F6F1-40E7-BD1A-43812BC02B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61567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BF16C7DF-AAFB-48BF-9719-BEDB49FA0EA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740701" y="1330324"/>
            <a:ext cx="2448000" cy="19008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BE82B65-4225-4835-9D11-414E80A480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40701" y="3500437"/>
            <a:ext cx="2448000" cy="517193"/>
          </a:xfrm>
        </p:spPr>
        <p:txBody>
          <a:bodyPr>
            <a:spAutoFit/>
          </a:bodyPr>
          <a:lstStyle>
            <a:lvl1pPr>
              <a:defRPr sz="1910">
                <a:solidFill>
                  <a:schemeClr val="accent5"/>
                </a:solidFill>
                <a:latin typeface="+mj-lt"/>
              </a:defRPr>
            </a:lvl1pPr>
            <a:lvl2pPr>
              <a:defRPr sz="1034"/>
            </a:lvl2pPr>
          </a:lstStyle>
          <a:p>
            <a:pPr lvl="0"/>
            <a:r>
              <a:rPr lang="en-US"/>
              <a:t>Partner Name</a:t>
            </a:r>
          </a:p>
          <a:p>
            <a:pPr lvl="1"/>
            <a:r>
              <a:rPr lang="en-US"/>
              <a:t>Sector Nam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E24AF4F7-6286-4F12-8CC6-9D3D2C2EA2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57953" y="1330324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273" b="0" kern="1200" spc="16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72751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77"/>
              </a:spcAft>
              <a:buFontTx/>
              <a:buNone/>
            </a:pPr>
            <a:r>
              <a:rPr lang="en-US"/>
              <a:t>01</a:t>
            </a:r>
            <a:endParaRPr lang="en-GB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A1AAB6E-94B2-4E91-9CEB-50E84434F0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95364" y="4343401"/>
            <a:ext cx="2448000" cy="1533525"/>
          </a:xfrm>
        </p:spPr>
        <p:txBody>
          <a:bodyPr/>
          <a:lstStyle>
            <a:lvl2pPr>
              <a:defRPr sz="1034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41DA198-669A-415B-9D0E-89D5BDCB8B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82433" y="4343401"/>
            <a:ext cx="2448000" cy="1533525"/>
          </a:xfrm>
        </p:spPr>
        <p:txBody>
          <a:bodyPr/>
          <a:lstStyle>
            <a:lvl2pPr>
              <a:defRPr sz="1034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DC5114C-C3D2-49E7-A38D-466F95B5A2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61567" y="4343401"/>
            <a:ext cx="2448000" cy="1533525"/>
          </a:xfrm>
        </p:spPr>
        <p:txBody>
          <a:bodyPr/>
          <a:lstStyle>
            <a:lvl2pPr>
              <a:defRPr sz="1034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A468C94C-268F-4547-8993-7B47FB365E8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40701" y="4343401"/>
            <a:ext cx="2448000" cy="1533525"/>
          </a:xfrm>
        </p:spPr>
        <p:txBody>
          <a:bodyPr/>
          <a:lstStyle>
            <a:lvl2pPr>
              <a:defRPr sz="1034"/>
            </a:lvl2pPr>
          </a:lstStyle>
          <a:p>
            <a:pPr lvl="1"/>
            <a:r>
              <a:rPr lang="en-US"/>
              <a:t>Text Placeholder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CA373DA8-5766-4E27-AB6B-2D49F7E7841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37085" y="1330324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273" b="0" kern="1200" spc="16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72751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77"/>
              </a:spcAft>
              <a:buFontTx/>
              <a:buNone/>
            </a:pPr>
            <a:r>
              <a:rPr lang="en-US"/>
              <a:t>02</a:t>
            </a:r>
            <a:endParaRPr lang="en-GB"/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72EC7370-28C3-4DEF-9936-6044EC44FD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16218" y="1330324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273" b="0" kern="1200" spc="16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72751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77"/>
              </a:spcAft>
              <a:buFontTx/>
              <a:buNone/>
            </a:pPr>
            <a:r>
              <a:rPr lang="en-US"/>
              <a:t>03</a:t>
            </a:r>
            <a:endParaRPr lang="en-GB"/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CA9841A3-E975-4AA0-932D-99A38F36198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595352" y="1330324"/>
            <a:ext cx="593348" cy="565319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1392"/>
              <a:gd name="connsiteX1" fmla="*/ 10000 w 10000"/>
              <a:gd name="connsiteY1" fmla="*/ 0 h 11392"/>
              <a:gd name="connsiteX2" fmla="*/ 9996 w 10000"/>
              <a:gd name="connsiteY2" fmla="*/ 11392 h 11392"/>
              <a:gd name="connsiteX3" fmla="*/ 0 w 10000"/>
              <a:gd name="connsiteY3" fmla="*/ 0 h 11392"/>
              <a:gd name="connsiteX0" fmla="*/ 0 w 12833"/>
              <a:gd name="connsiteY0" fmla="*/ 48 h 11392"/>
              <a:gd name="connsiteX1" fmla="*/ 12833 w 12833"/>
              <a:gd name="connsiteY1" fmla="*/ 0 h 11392"/>
              <a:gd name="connsiteX2" fmla="*/ 12829 w 12833"/>
              <a:gd name="connsiteY2" fmla="*/ 11392 h 11392"/>
              <a:gd name="connsiteX3" fmla="*/ 0 w 12833"/>
              <a:gd name="connsiteY3" fmla="*/ 48 h 113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833" h="11392">
                <a:moveTo>
                  <a:pt x="0" y="48"/>
                </a:moveTo>
                <a:lnTo>
                  <a:pt x="12833" y="0"/>
                </a:lnTo>
                <a:cubicBezTo>
                  <a:pt x="12832" y="3797"/>
                  <a:pt x="12830" y="7595"/>
                  <a:pt x="12829" y="11392"/>
                </a:cubicBezTo>
                <a:lnTo>
                  <a:pt x="0" y="4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none" lIns="216000" tIns="0" bIns="288000" anchor="ctr" anchorCtr="1">
            <a:noAutofit/>
          </a:bodyPr>
          <a:lstStyle>
            <a:lvl1pPr algn="r">
              <a:defRPr lang="en-GB" sz="1273" b="0" kern="1200" spc="16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</a:lstStyle>
          <a:p>
            <a:pPr marL="0" lvl="0" indent="0" algn="l" defTabSz="72751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77"/>
              </a:spcAft>
              <a:buFontTx/>
              <a:buNone/>
            </a:pPr>
            <a:r>
              <a:rPr lang="en-US"/>
              <a:t>0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396189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1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1936713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114"/>
            </a:lvl1pPr>
            <a:lvl2pPr algn="l">
              <a:defRPr sz="1114"/>
            </a:lvl2pPr>
            <a:lvl3pPr algn="l">
              <a:defRPr sz="1114"/>
            </a:lvl3pPr>
            <a:lvl4pPr algn="l">
              <a:defRPr sz="1114"/>
            </a:lvl4pPr>
            <a:lvl5pPr algn="l"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68984" y="1936713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114"/>
            </a:lvl1pPr>
            <a:lvl2pPr algn="l">
              <a:defRPr sz="1114"/>
            </a:lvl2pPr>
            <a:lvl3pPr algn="l">
              <a:defRPr sz="1114"/>
            </a:lvl3pPr>
            <a:lvl4pPr algn="l">
              <a:defRPr sz="1114"/>
            </a:lvl4pPr>
            <a:lvl5pPr algn="l"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34768" y="1936713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114"/>
            </a:lvl1pPr>
            <a:lvl2pPr algn="l">
              <a:defRPr sz="1114"/>
            </a:lvl2pPr>
            <a:lvl3pPr algn="l">
              <a:defRPr sz="1114"/>
            </a:lvl3pPr>
            <a:lvl4pPr algn="l">
              <a:defRPr sz="1114"/>
            </a:lvl4pPr>
            <a:lvl5pPr algn="l"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0553" y="1936713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114"/>
            </a:lvl1pPr>
            <a:lvl2pPr algn="l">
              <a:defRPr sz="1114"/>
            </a:lvl2pPr>
            <a:lvl3pPr algn="l">
              <a:defRPr sz="1114"/>
            </a:lvl3pPr>
            <a:lvl4pPr algn="l">
              <a:defRPr sz="1114"/>
            </a:lvl4pPr>
            <a:lvl5pPr algn="l"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1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defRPr sz="1114">
                <a:solidFill>
                  <a:schemeClr val="bg1"/>
                </a:solidFill>
              </a:defRPr>
            </a:lvl3pPr>
            <a:lvl4pPr>
              <a:defRPr sz="1114">
                <a:solidFill>
                  <a:schemeClr val="bg1"/>
                </a:solidFill>
              </a:defRPr>
            </a:lvl4pPr>
            <a:lvl5pPr>
              <a:defRPr sz="111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068985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defRPr sz="1114">
                <a:solidFill>
                  <a:schemeClr val="bg1"/>
                </a:solidFill>
              </a:defRPr>
            </a:lvl3pPr>
            <a:lvl4pPr>
              <a:defRPr sz="1114">
                <a:solidFill>
                  <a:schemeClr val="bg1"/>
                </a:solidFill>
              </a:defRPr>
            </a:lvl4pPr>
            <a:lvl5pPr>
              <a:defRPr sz="111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4769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defRPr sz="1114">
                <a:solidFill>
                  <a:schemeClr val="bg1"/>
                </a:solidFill>
              </a:defRPr>
            </a:lvl3pPr>
            <a:lvl4pPr>
              <a:defRPr sz="1114">
                <a:solidFill>
                  <a:schemeClr val="bg1"/>
                </a:solidFill>
              </a:defRPr>
            </a:lvl4pPr>
            <a:lvl5pPr>
              <a:defRPr sz="111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00553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defRPr sz="1114">
                <a:solidFill>
                  <a:schemeClr val="bg1"/>
                </a:solidFill>
              </a:defRPr>
            </a:lvl3pPr>
            <a:lvl4pPr>
              <a:defRPr sz="1114">
                <a:solidFill>
                  <a:schemeClr val="bg1"/>
                </a:solidFill>
              </a:defRPr>
            </a:lvl4pPr>
            <a:lvl5pPr>
              <a:defRPr sz="111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26633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defRPr sz="1114">
                <a:solidFill>
                  <a:schemeClr val="bg1"/>
                </a:solidFill>
              </a:defRPr>
            </a:lvl3pPr>
            <a:lvl4pPr>
              <a:defRPr sz="1114">
                <a:solidFill>
                  <a:schemeClr val="bg1"/>
                </a:solidFill>
              </a:defRPr>
            </a:lvl4pPr>
            <a:lvl5pPr>
              <a:defRPr sz="111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266338" y="1936713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114"/>
            </a:lvl1pPr>
            <a:lvl2pPr algn="l">
              <a:defRPr sz="1114"/>
            </a:lvl2pPr>
            <a:lvl3pPr algn="l">
              <a:defRPr sz="1114"/>
            </a:lvl3pPr>
            <a:lvl4pPr algn="l">
              <a:defRPr sz="1114"/>
            </a:lvl4pPr>
            <a:lvl5pPr algn="l"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892322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1" y="432000"/>
            <a:ext cx="10185600" cy="518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A68D3E60-F95F-4250-92C1-89CF93433E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1" y="1936713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114"/>
            </a:lvl1pPr>
            <a:lvl2pPr algn="l">
              <a:defRPr sz="1114"/>
            </a:lvl2pPr>
            <a:lvl3pPr algn="l">
              <a:defRPr sz="1114"/>
            </a:lvl3pPr>
            <a:lvl4pPr algn="l">
              <a:defRPr sz="1114"/>
            </a:lvl4pPr>
            <a:lvl5pPr algn="l"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D8E592C-F128-4E4B-970B-BFB5C0F2A4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8984" y="1936713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114"/>
            </a:lvl1pPr>
            <a:lvl2pPr algn="l">
              <a:defRPr sz="1114"/>
            </a:lvl2pPr>
            <a:lvl3pPr algn="l">
              <a:defRPr sz="1114"/>
            </a:lvl3pPr>
            <a:lvl4pPr algn="l">
              <a:defRPr sz="1114"/>
            </a:lvl4pPr>
            <a:lvl5pPr algn="l"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EE6B17CD-E0EF-40A4-A171-4E4B731CE0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34768" y="1936713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114"/>
            </a:lvl1pPr>
            <a:lvl2pPr algn="l">
              <a:defRPr sz="1114"/>
            </a:lvl2pPr>
            <a:lvl3pPr algn="l">
              <a:defRPr sz="1114"/>
            </a:lvl3pPr>
            <a:lvl4pPr algn="l">
              <a:defRPr sz="1114"/>
            </a:lvl4pPr>
            <a:lvl5pPr algn="l"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03C9A44B-2A8F-416D-A76B-F3A018572E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553" y="1936713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114"/>
            </a:lvl1pPr>
            <a:lvl2pPr algn="l">
              <a:defRPr sz="1114"/>
            </a:lvl2pPr>
            <a:lvl3pPr algn="l">
              <a:defRPr sz="1114"/>
            </a:lvl3pPr>
            <a:lvl4pPr algn="l">
              <a:defRPr sz="1114"/>
            </a:lvl4pPr>
            <a:lvl5pPr algn="l"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D3A5B3AC-C2E0-40CF-9D31-036461F790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1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defRPr sz="1114">
                <a:solidFill>
                  <a:schemeClr val="bg1"/>
                </a:solidFill>
              </a:defRPr>
            </a:lvl3pPr>
            <a:lvl4pPr>
              <a:defRPr sz="1114">
                <a:solidFill>
                  <a:schemeClr val="bg1"/>
                </a:solidFill>
              </a:defRPr>
            </a:lvl4pPr>
            <a:lvl5pPr>
              <a:defRPr sz="111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969E3860-942E-40E2-A1C8-AF5DF29675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68985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defRPr sz="1114">
                <a:solidFill>
                  <a:schemeClr val="bg1"/>
                </a:solidFill>
              </a:defRPr>
            </a:lvl3pPr>
            <a:lvl4pPr>
              <a:defRPr sz="1114">
                <a:solidFill>
                  <a:schemeClr val="bg1"/>
                </a:solidFill>
              </a:defRPr>
            </a:lvl4pPr>
            <a:lvl5pPr>
              <a:defRPr sz="111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8E580107-2025-4C04-9884-4A6DBB63DE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4769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defRPr sz="1114">
                <a:solidFill>
                  <a:schemeClr val="bg1"/>
                </a:solidFill>
              </a:defRPr>
            </a:lvl3pPr>
            <a:lvl4pPr>
              <a:defRPr sz="1114">
                <a:solidFill>
                  <a:schemeClr val="bg1"/>
                </a:solidFill>
              </a:defRPr>
            </a:lvl4pPr>
            <a:lvl5pPr>
              <a:defRPr sz="111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C4D5128-392D-4FC9-A83F-FA43203A4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553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defRPr sz="1114">
                <a:solidFill>
                  <a:schemeClr val="bg1"/>
                </a:solidFill>
              </a:defRPr>
            </a:lvl3pPr>
            <a:lvl4pPr>
              <a:defRPr sz="1114">
                <a:solidFill>
                  <a:schemeClr val="bg1"/>
                </a:solidFill>
              </a:defRPr>
            </a:lvl4pPr>
            <a:lvl5pPr>
              <a:defRPr sz="111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A8EB5529-8601-4864-9983-FBB672B8B9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6633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defRPr sz="1114">
                <a:solidFill>
                  <a:schemeClr val="bg1"/>
                </a:solidFill>
              </a:defRPr>
            </a:lvl3pPr>
            <a:lvl4pPr>
              <a:defRPr sz="1114">
                <a:solidFill>
                  <a:schemeClr val="bg1"/>
                </a:solidFill>
              </a:defRPr>
            </a:lvl4pPr>
            <a:lvl5pPr>
              <a:defRPr sz="111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4715BC67-F699-49E6-B5D7-22ED9DFA81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66338" y="1936713"/>
            <a:ext cx="1728000" cy="3940213"/>
          </a:xfrm>
          <a:solidFill>
            <a:schemeClr val="accent1">
              <a:alpha val="25000"/>
            </a:schemeClr>
          </a:solidFill>
        </p:spPr>
        <p:txBody>
          <a:bodyPr lIns="108000" tIns="108000" rIns="108000" bIns="108000"/>
          <a:lstStyle>
            <a:lvl1pPr algn="l">
              <a:defRPr sz="1114"/>
            </a:lvl1pPr>
            <a:lvl2pPr algn="l">
              <a:defRPr sz="1114"/>
            </a:lvl2pPr>
            <a:lvl3pPr algn="l">
              <a:defRPr sz="1114"/>
            </a:lvl3pPr>
            <a:lvl4pPr algn="l">
              <a:defRPr sz="1114"/>
            </a:lvl4pPr>
            <a:lvl5pPr algn="l"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001772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6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3580C36-1E70-46DD-9783-AFD66B7DEC90}"/>
              </a:ext>
            </a:extLst>
          </p:cNvPr>
          <p:cNvSpPr/>
          <p:nvPr userDrawn="1"/>
        </p:nvSpPr>
        <p:spPr>
          <a:xfrm>
            <a:off x="1" y="1"/>
            <a:ext cx="12192000" cy="26860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445" tIns="43445" rIns="43445" bIns="43445" rtlCol="0" anchor="ctr"/>
          <a:lstStyle/>
          <a:p>
            <a:pPr algn="l"/>
            <a:endParaRPr lang="en-US" sz="1194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1" y="432000"/>
            <a:ext cx="10185600" cy="51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2009776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114"/>
            </a:lvl1pPr>
            <a:lvl2pPr algn="l">
              <a:defRPr sz="1114"/>
            </a:lvl2pPr>
            <a:lvl3pPr algn="l">
              <a:defRPr sz="1114"/>
            </a:lvl3pPr>
            <a:lvl4pPr algn="l">
              <a:defRPr sz="1114"/>
            </a:lvl4pPr>
            <a:lvl5pPr algn="l"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720598" y="2009776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114"/>
            </a:lvl1pPr>
            <a:lvl2pPr algn="l">
              <a:defRPr sz="1114"/>
            </a:lvl2pPr>
            <a:lvl3pPr algn="l">
              <a:defRPr sz="1114"/>
            </a:lvl3pPr>
            <a:lvl4pPr algn="l">
              <a:defRPr sz="1114"/>
            </a:lvl4pPr>
            <a:lvl5pPr algn="l"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437995" y="2009776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114"/>
            </a:lvl1pPr>
            <a:lvl2pPr algn="l">
              <a:defRPr sz="1114"/>
            </a:lvl2pPr>
            <a:lvl3pPr algn="l">
              <a:defRPr sz="1114"/>
            </a:lvl3pPr>
            <a:lvl4pPr algn="l">
              <a:defRPr sz="1114"/>
            </a:lvl4pPr>
            <a:lvl5pPr algn="l"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155392" y="2009776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114"/>
            </a:lvl1pPr>
            <a:lvl2pPr algn="l">
              <a:defRPr sz="1114"/>
            </a:lvl2pPr>
            <a:lvl3pPr algn="l">
              <a:defRPr sz="1114"/>
            </a:lvl3pPr>
            <a:lvl4pPr algn="l">
              <a:defRPr sz="1114"/>
            </a:lvl4pPr>
            <a:lvl5pPr algn="l"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590188" y="2009776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114"/>
            </a:lvl1pPr>
            <a:lvl2pPr algn="l">
              <a:defRPr sz="1114"/>
            </a:lvl2pPr>
            <a:lvl3pPr algn="l">
              <a:defRPr sz="1114"/>
            </a:lvl3pPr>
            <a:lvl4pPr algn="l">
              <a:defRPr sz="1114"/>
            </a:lvl4pPr>
            <a:lvl5pPr algn="l"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469478F-D315-4922-A7E4-E575455BF3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872789" y="2009776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114"/>
            </a:lvl1pPr>
            <a:lvl2pPr algn="l">
              <a:defRPr sz="1114"/>
            </a:lvl2pPr>
            <a:lvl3pPr algn="l">
              <a:defRPr sz="1114"/>
            </a:lvl3pPr>
            <a:lvl4pPr algn="l">
              <a:defRPr sz="1114"/>
            </a:lvl4pPr>
            <a:lvl5pPr algn="l"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8557E01-A30E-46EA-BAB3-4F33E0992F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95364" y="1330325"/>
            <a:ext cx="10185400" cy="43165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6820841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1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936714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114"/>
            </a:lvl1pPr>
            <a:lvl2pPr>
              <a:defRPr sz="1114"/>
            </a:lvl2pPr>
            <a:lvl3pPr>
              <a:defRPr sz="1114"/>
            </a:lvl3pPr>
            <a:lvl4pPr>
              <a:defRPr sz="1114"/>
            </a:lvl4pPr>
            <a:lvl5pPr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593775" y="1936714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114"/>
            </a:lvl1pPr>
            <a:lvl2pPr>
              <a:defRPr sz="1114"/>
            </a:lvl2pPr>
            <a:lvl3pPr>
              <a:defRPr sz="1114"/>
            </a:lvl3pPr>
            <a:lvl4pPr>
              <a:defRPr sz="1114"/>
            </a:lvl4pPr>
            <a:lvl5pPr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84350" y="1936714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114"/>
            </a:lvl1pPr>
            <a:lvl2pPr>
              <a:defRPr sz="1114"/>
            </a:lvl2pPr>
            <a:lvl3pPr>
              <a:defRPr sz="1114"/>
            </a:lvl3pPr>
            <a:lvl4pPr>
              <a:defRPr sz="1114"/>
            </a:lvl4pPr>
            <a:lvl5pPr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774926" y="1936714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114"/>
            </a:lvl1pPr>
            <a:lvl2pPr>
              <a:defRPr sz="1114"/>
            </a:lvl2pPr>
            <a:lvl3pPr>
              <a:defRPr sz="1114"/>
            </a:lvl3pPr>
            <a:lvl4pPr>
              <a:defRPr sz="1114"/>
            </a:lvl4pPr>
            <a:lvl5pPr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defRPr sz="1114">
                <a:solidFill>
                  <a:schemeClr val="bg1"/>
                </a:solidFill>
              </a:defRPr>
            </a:lvl3pPr>
            <a:lvl4pPr>
              <a:defRPr sz="1114">
                <a:solidFill>
                  <a:schemeClr val="bg1"/>
                </a:solidFill>
              </a:defRPr>
            </a:lvl4pPr>
            <a:lvl5pPr>
              <a:defRPr sz="111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59377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defRPr sz="1114">
                <a:solidFill>
                  <a:schemeClr val="bg1"/>
                </a:solidFill>
              </a:defRPr>
            </a:lvl3pPr>
            <a:lvl4pPr>
              <a:defRPr sz="1114">
                <a:solidFill>
                  <a:schemeClr val="bg1"/>
                </a:solidFill>
              </a:defRPr>
            </a:lvl4pPr>
            <a:lvl5pPr>
              <a:defRPr sz="111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84351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defRPr sz="1114">
                <a:solidFill>
                  <a:schemeClr val="bg1"/>
                </a:solidFill>
              </a:defRPr>
            </a:lvl3pPr>
            <a:lvl4pPr>
              <a:defRPr sz="1114">
                <a:solidFill>
                  <a:schemeClr val="bg1"/>
                </a:solidFill>
              </a:defRPr>
            </a:lvl4pPr>
            <a:lvl5pPr>
              <a:defRPr sz="111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774927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defRPr sz="1114">
                <a:solidFill>
                  <a:schemeClr val="bg1"/>
                </a:solidFill>
              </a:defRPr>
            </a:lvl3pPr>
            <a:lvl4pPr>
              <a:defRPr sz="1114">
                <a:solidFill>
                  <a:schemeClr val="bg1"/>
                </a:solidFill>
              </a:defRPr>
            </a:lvl4pPr>
            <a:lvl5pPr>
              <a:defRPr sz="111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158195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1" y="432000"/>
            <a:ext cx="10185600" cy="518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A5FBEF-FE77-4CC8-B2D5-D94327DAF6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0" y="1936714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114"/>
            </a:lvl1pPr>
            <a:lvl2pPr>
              <a:defRPr sz="1114"/>
            </a:lvl2pPr>
            <a:lvl3pPr>
              <a:defRPr sz="1114"/>
            </a:lvl3pPr>
            <a:lvl4pPr>
              <a:defRPr sz="1114"/>
            </a:lvl4pPr>
            <a:lvl5pPr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59D9BAA-2BF4-4A94-BAA4-5D091A2962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93775" y="1936714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114"/>
            </a:lvl1pPr>
            <a:lvl2pPr>
              <a:defRPr sz="1114"/>
            </a:lvl2pPr>
            <a:lvl3pPr>
              <a:defRPr sz="1114"/>
            </a:lvl3pPr>
            <a:lvl4pPr>
              <a:defRPr sz="1114"/>
            </a:lvl4pPr>
            <a:lvl5pPr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3D170C1-7106-44D2-A62F-A804F244A0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84350" y="1936714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114"/>
            </a:lvl1pPr>
            <a:lvl2pPr>
              <a:defRPr sz="1114"/>
            </a:lvl2pPr>
            <a:lvl3pPr>
              <a:defRPr sz="1114"/>
            </a:lvl3pPr>
            <a:lvl4pPr>
              <a:defRPr sz="1114"/>
            </a:lvl4pPr>
            <a:lvl5pPr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5DDAC4CF-AC2F-4D83-9FB0-DDFB71EE9A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74926" y="1936714"/>
            <a:ext cx="2196000" cy="3940213"/>
          </a:xfrm>
          <a:solidFill>
            <a:srgbClr val="DCE6EE"/>
          </a:solidFill>
        </p:spPr>
        <p:txBody>
          <a:bodyPr lIns="108000" tIns="108000" rIns="108000" bIns="108000"/>
          <a:lstStyle>
            <a:lvl1pPr>
              <a:defRPr sz="1114"/>
            </a:lvl1pPr>
            <a:lvl2pPr>
              <a:defRPr sz="1114"/>
            </a:lvl2pPr>
            <a:lvl3pPr>
              <a:defRPr sz="1114"/>
            </a:lvl3pPr>
            <a:lvl4pPr>
              <a:defRPr sz="1114"/>
            </a:lvl4pPr>
            <a:lvl5pPr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C84B130-9B9F-460C-87A1-4E3012ECE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defRPr sz="1114">
                <a:solidFill>
                  <a:schemeClr val="bg1"/>
                </a:solidFill>
              </a:defRPr>
            </a:lvl3pPr>
            <a:lvl4pPr>
              <a:defRPr sz="1114">
                <a:solidFill>
                  <a:schemeClr val="bg1"/>
                </a:solidFill>
              </a:defRPr>
            </a:lvl4pPr>
            <a:lvl5pPr>
              <a:defRPr sz="111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C076374-F8FA-413A-9C7F-81C8235123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377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defRPr sz="1114">
                <a:solidFill>
                  <a:schemeClr val="bg1"/>
                </a:solidFill>
              </a:defRPr>
            </a:lvl3pPr>
            <a:lvl4pPr>
              <a:defRPr sz="1114">
                <a:solidFill>
                  <a:schemeClr val="bg1"/>
                </a:solidFill>
              </a:defRPr>
            </a:lvl4pPr>
            <a:lvl5pPr>
              <a:defRPr sz="111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92DC24D7-E120-435A-8A2A-98E939AC4C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4351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defRPr sz="1114">
                <a:solidFill>
                  <a:schemeClr val="bg1"/>
                </a:solidFill>
              </a:defRPr>
            </a:lvl3pPr>
            <a:lvl4pPr>
              <a:defRPr sz="1114">
                <a:solidFill>
                  <a:schemeClr val="bg1"/>
                </a:solidFill>
              </a:defRPr>
            </a:lvl4pPr>
            <a:lvl5pPr>
              <a:defRPr sz="111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1F15369-328E-43E6-894F-1F86414EB3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74927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defRPr sz="1114">
                <a:solidFill>
                  <a:schemeClr val="bg1"/>
                </a:solidFill>
              </a:defRPr>
            </a:lvl3pPr>
            <a:lvl4pPr>
              <a:defRPr sz="1114">
                <a:solidFill>
                  <a:schemeClr val="bg1"/>
                </a:solidFill>
              </a:defRPr>
            </a:lvl4pPr>
            <a:lvl5pPr>
              <a:defRPr sz="1114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223429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19862B5-E58D-4F98-8070-F04E6659AC38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003347" y="1330325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4967685 w 4967685"/>
              <a:gd name="connsiteY1" fmla="*/ 0 h 2132614"/>
              <a:gd name="connsiteX2" fmla="*/ 4967685 w 4967685"/>
              <a:gd name="connsiteY2" fmla="*/ 1013538 h 2132614"/>
              <a:gd name="connsiteX3" fmla="*/ 3364916 w 4967685"/>
              <a:gd name="connsiteY3" fmla="*/ 1013538 h 2132614"/>
              <a:gd name="connsiteX4" fmla="*/ 3364916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4967685" y="0"/>
                </a:lnTo>
                <a:lnTo>
                  <a:pt x="4967685" y="1013538"/>
                </a:lnTo>
                <a:lnTo>
                  <a:pt x="3364916" y="1013538"/>
                </a:lnTo>
                <a:lnTo>
                  <a:pt x="3364916" y="2132614"/>
                </a:lnTo>
                <a:lnTo>
                  <a:pt x="0" y="2132614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194">
                <a:latin typeface="+mn-lt"/>
              </a:defRPr>
            </a:lvl1pPr>
            <a:lvl2pPr>
              <a:defRPr sz="1194">
                <a:latin typeface="+mn-lt"/>
              </a:defRPr>
            </a:lvl2pPr>
            <a:lvl3pPr>
              <a:defRPr sz="1194">
                <a:latin typeface="+mn-lt"/>
              </a:defRPr>
            </a:lvl3pPr>
            <a:lvl4pPr>
              <a:defRPr sz="1194">
                <a:latin typeface="+mn-lt"/>
              </a:defRPr>
            </a:lvl4pPr>
            <a:lvl5pPr>
              <a:defRPr sz="1194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EEBDCDC-F212-4ED4-8D32-7B1BC919EF2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220971" y="1330325"/>
            <a:ext cx="4970724" cy="2132614"/>
          </a:xfrm>
          <a:custGeom>
            <a:avLst/>
            <a:gdLst>
              <a:gd name="connsiteX0" fmla="*/ 0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1602767 w 4970724"/>
              <a:gd name="connsiteY3" fmla="*/ 2132614 h 2132614"/>
              <a:gd name="connsiteX4" fmla="*/ 1602767 w 4970724"/>
              <a:gd name="connsiteY4" fmla="*/ 1013538 h 2132614"/>
              <a:gd name="connsiteX5" fmla="*/ 0 w 4970724"/>
              <a:gd name="connsiteY5" fmla="*/ 1013538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0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1602767" y="2132614"/>
                </a:lnTo>
                <a:lnTo>
                  <a:pt x="1602767" y="1013538"/>
                </a:lnTo>
                <a:lnTo>
                  <a:pt x="0" y="1013538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194">
                <a:latin typeface="+mn-lt"/>
              </a:defRPr>
            </a:lvl1pPr>
            <a:lvl2pPr>
              <a:defRPr sz="1194">
                <a:latin typeface="+mn-lt"/>
              </a:defRPr>
            </a:lvl2pPr>
            <a:lvl3pPr>
              <a:defRPr sz="1194">
                <a:latin typeface="+mn-lt"/>
              </a:defRPr>
            </a:lvl3pPr>
            <a:lvl4pPr>
              <a:defRPr sz="1194">
                <a:latin typeface="+mn-lt"/>
              </a:defRPr>
            </a:lvl4pPr>
            <a:lvl5pPr>
              <a:defRPr sz="1194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1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E0E984E-3A85-42BD-A2C6-26D3EB300D8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003347" y="3747502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3364916 w 4967685"/>
              <a:gd name="connsiteY1" fmla="*/ 0 h 2132614"/>
              <a:gd name="connsiteX2" fmla="*/ 3364916 w 4967685"/>
              <a:gd name="connsiteY2" fmla="*/ 1119077 h 2132614"/>
              <a:gd name="connsiteX3" fmla="*/ 4967685 w 4967685"/>
              <a:gd name="connsiteY3" fmla="*/ 1119077 h 2132614"/>
              <a:gd name="connsiteX4" fmla="*/ 4967685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3364916" y="0"/>
                </a:lnTo>
                <a:lnTo>
                  <a:pt x="3364916" y="1119077"/>
                </a:lnTo>
                <a:lnTo>
                  <a:pt x="4967685" y="1119077"/>
                </a:lnTo>
                <a:lnTo>
                  <a:pt x="4967685" y="2132614"/>
                </a:lnTo>
                <a:lnTo>
                  <a:pt x="0" y="2132614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194">
                <a:latin typeface="+mn-lt"/>
              </a:defRPr>
            </a:lvl1pPr>
            <a:lvl2pPr>
              <a:defRPr sz="1194">
                <a:latin typeface="+mn-lt"/>
              </a:defRPr>
            </a:lvl2pPr>
            <a:lvl3pPr>
              <a:defRPr sz="1194">
                <a:latin typeface="+mn-lt"/>
              </a:defRPr>
            </a:lvl3pPr>
            <a:lvl4pPr>
              <a:defRPr sz="1194">
                <a:latin typeface="+mn-lt"/>
              </a:defRPr>
            </a:lvl4pPr>
            <a:lvl5pPr>
              <a:defRPr sz="1194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DB6DB5B-6EBB-4E77-8ECE-2DE4424BD66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220971" y="3747502"/>
            <a:ext cx="4970724" cy="2132614"/>
          </a:xfrm>
          <a:custGeom>
            <a:avLst/>
            <a:gdLst>
              <a:gd name="connsiteX0" fmla="*/ 1602767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0 w 4970724"/>
              <a:gd name="connsiteY3" fmla="*/ 2132614 h 2132614"/>
              <a:gd name="connsiteX4" fmla="*/ 0 w 4970724"/>
              <a:gd name="connsiteY4" fmla="*/ 1119077 h 2132614"/>
              <a:gd name="connsiteX5" fmla="*/ 1602767 w 4970724"/>
              <a:gd name="connsiteY5" fmla="*/ 1119077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1602767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0" y="2132614"/>
                </a:lnTo>
                <a:lnTo>
                  <a:pt x="0" y="1119077"/>
                </a:lnTo>
                <a:lnTo>
                  <a:pt x="1602767" y="1119077"/>
                </a:lnTo>
                <a:close/>
              </a:path>
            </a:pathLst>
          </a:custGeom>
          <a:solidFill>
            <a:srgbClr val="DCE6EE"/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194">
                <a:latin typeface="+mn-lt"/>
              </a:defRPr>
            </a:lvl1pPr>
            <a:lvl2pPr>
              <a:defRPr sz="1194">
                <a:latin typeface="+mn-lt"/>
              </a:defRPr>
            </a:lvl2pPr>
            <a:lvl3pPr>
              <a:defRPr sz="1194">
                <a:latin typeface="+mn-lt"/>
              </a:defRPr>
            </a:lvl3pPr>
            <a:lvl4pPr>
              <a:defRPr sz="1194">
                <a:latin typeface="+mn-lt"/>
              </a:defRPr>
            </a:lvl4pPr>
            <a:lvl5pPr>
              <a:defRPr sz="1194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4571177" y="2546022"/>
            <a:ext cx="3049649" cy="211839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108000" rIns="108000" bIns="108000" anchor="ctr" anchorCtr="1">
            <a:noAutofit/>
          </a:bodyPr>
          <a:lstStyle>
            <a:lvl1pPr algn="ctr">
              <a:defRPr sz="1114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600327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1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1" y="1720714"/>
            <a:ext cx="4968000" cy="4156211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194"/>
            </a:lvl1pPr>
            <a:lvl2pPr>
              <a:defRPr sz="1194"/>
            </a:lvl2pPr>
            <a:lvl3pPr>
              <a:defRPr sz="1194"/>
            </a:lvl3pPr>
            <a:lvl4pPr>
              <a:defRPr sz="1194"/>
            </a:lvl4pPr>
            <a:lvl5pPr>
              <a:defRPr sz="119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1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194">
                <a:solidFill>
                  <a:schemeClr val="bg1"/>
                </a:solidFill>
              </a:defRPr>
            </a:lvl1pPr>
            <a:lvl2pPr>
              <a:defRPr sz="1114"/>
            </a:lvl2pPr>
            <a:lvl3pPr>
              <a:defRPr sz="1114"/>
            </a:lvl3pPr>
            <a:lvl4pPr>
              <a:defRPr sz="1114"/>
            </a:lvl4pPr>
            <a:lvl5pPr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20800" y="1720714"/>
            <a:ext cx="4968000" cy="4156211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194"/>
            </a:lvl1pPr>
            <a:lvl2pPr>
              <a:defRPr sz="1194"/>
            </a:lvl2pPr>
            <a:lvl3pPr>
              <a:defRPr sz="1194"/>
            </a:lvl3pPr>
            <a:lvl4pPr>
              <a:defRPr sz="1194"/>
            </a:lvl4pPr>
            <a:lvl5pPr>
              <a:defRPr sz="119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208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194">
                <a:solidFill>
                  <a:schemeClr val="bg1"/>
                </a:solidFill>
              </a:defRPr>
            </a:lvl1pPr>
            <a:lvl2pPr>
              <a:defRPr sz="1114"/>
            </a:lvl2pPr>
            <a:lvl3pPr>
              <a:defRPr sz="1114"/>
            </a:lvl3pPr>
            <a:lvl4pPr>
              <a:defRPr sz="1114"/>
            </a:lvl4pPr>
            <a:lvl5pPr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00030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670719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1" y="432000"/>
            <a:ext cx="10185600" cy="518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1" y="1720715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194"/>
            </a:lvl1pPr>
            <a:lvl2pPr>
              <a:defRPr sz="1194"/>
            </a:lvl2pPr>
            <a:lvl3pPr>
              <a:defRPr sz="1194"/>
            </a:lvl3pPr>
            <a:lvl4pPr>
              <a:defRPr sz="1194"/>
            </a:lvl4pPr>
            <a:lvl5pPr>
              <a:defRPr sz="119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1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194">
                <a:solidFill>
                  <a:schemeClr val="bg1"/>
                </a:solidFill>
              </a:defRPr>
            </a:lvl1pPr>
            <a:lvl2pPr>
              <a:defRPr sz="1114"/>
            </a:lvl2pPr>
            <a:lvl3pPr>
              <a:defRPr sz="1114"/>
            </a:lvl3pPr>
            <a:lvl4pPr>
              <a:defRPr sz="1114"/>
            </a:lvl4pPr>
            <a:lvl5pPr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20800" y="1720715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194"/>
            </a:lvl1pPr>
            <a:lvl2pPr>
              <a:defRPr sz="1194"/>
            </a:lvl2pPr>
            <a:lvl3pPr>
              <a:defRPr sz="1194"/>
            </a:lvl3pPr>
            <a:lvl4pPr>
              <a:defRPr sz="1194"/>
            </a:lvl4pPr>
            <a:lvl5pPr>
              <a:defRPr sz="119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208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194">
                <a:solidFill>
                  <a:schemeClr val="bg1"/>
                </a:solidFill>
              </a:defRPr>
            </a:lvl1pPr>
            <a:lvl2pPr>
              <a:defRPr sz="1114"/>
            </a:lvl2pPr>
            <a:lvl3pPr>
              <a:defRPr sz="1114"/>
            </a:lvl3pPr>
            <a:lvl4pPr>
              <a:defRPr sz="1114"/>
            </a:lvl4pPr>
            <a:lvl5pPr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1003201" y="4130720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194"/>
            </a:lvl1pPr>
            <a:lvl2pPr>
              <a:defRPr sz="1194"/>
            </a:lvl2pPr>
            <a:lvl3pPr>
              <a:defRPr sz="1194"/>
            </a:lvl3pPr>
            <a:lvl4pPr>
              <a:defRPr sz="1194"/>
            </a:lvl4pPr>
            <a:lvl5pPr>
              <a:defRPr sz="119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1003201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194">
                <a:solidFill>
                  <a:schemeClr val="bg1"/>
                </a:solidFill>
              </a:defRPr>
            </a:lvl1pPr>
            <a:lvl2pPr>
              <a:defRPr sz="1114"/>
            </a:lvl2pPr>
            <a:lvl3pPr>
              <a:defRPr sz="1114"/>
            </a:lvl3pPr>
            <a:lvl4pPr>
              <a:defRPr sz="1114"/>
            </a:lvl4pPr>
            <a:lvl5pPr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6220800" y="4130720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194"/>
            </a:lvl1pPr>
            <a:lvl2pPr>
              <a:defRPr sz="1194"/>
            </a:lvl2pPr>
            <a:lvl3pPr>
              <a:defRPr sz="1194"/>
            </a:lvl3pPr>
            <a:lvl4pPr>
              <a:defRPr sz="1194"/>
            </a:lvl4pPr>
            <a:lvl5pPr>
              <a:defRPr sz="119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622080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194">
                <a:solidFill>
                  <a:schemeClr val="bg1"/>
                </a:solidFill>
              </a:defRPr>
            </a:lvl1pPr>
            <a:lvl2pPr>
              <a:defRPr sz="1114"/>
            </a:lvl2pPr>
            <a:lvl3pPr>
              <a:defRPr sz="1114"/>
            </a:lvl3pPr>
            <a:lvl4pPr>
              <a:defRPr sz="1114"/>
            </a:lvl4pPr>
            <a:lvl5pPr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068929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Quad Boxes BG Dark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201" y="432000"/>
            <a:ext cx="10185600" cy="51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hape 8">
            <a:extLst>
              <a:ext uri="{FF2B5EF4-FFF2-40B4-BE49-F238E27FC236}">
                <a16:creationId xmlns:a16="http://schemas.microsoft.com/office/drawing/2014/main" id="{1763B05F-830B-4267-AD78-15D92D15E48D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8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796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796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6" name="Freeform 19">
            <a:extLst>
              <a:ext uri="{FF2B5EF4-FFF2-40B4-BE49-F238E27FC236}">
                <a16:creationId xmlns:a16="http://schemas.microsoft.com/office/drawing/2014/main" id="{1B12696F-A472-4363-9634-056AC4D96D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3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4359EB3-99CA-467E-9F82-D5B531A28A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8"/>
            <a:ext cx="4623066" cy="146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275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477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4C51904-D930-45AA-AF92-A006847C8BF5}"/>
              </a:ext>
            </a:extLst>
          </p:cNvPr>
          <p:cNvCxnSpPr/>
          <p:nvPr userDrawn="1"/>
        </p:nvCxnSpPr>
        <p:spPr>
          <a:xfrm>
            <a:off x="10928548" y="6266998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8">
            <a:extLst>
              <a:ext uri="{FF2B5EF4-FFF2-40B4-BE49-F238E27FC236}">
                <a16:creationId xmlns:a16="http://schemas.microsoft.com/office/drawing/2014/main" id="{2086F202-0162-4310-A956-FCCC947433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03201" y="1720715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194"/>
            </a:lvl1pPr>
            <a:lvl2pPr>
              <a:defRPr sz="1194"/>
            </a:lvl2pPr>
            <a:lvl3pPr>
              <a:defRPr sz="1194"/>
            </a:lvl3pPr>
            <a:lvl4pPr>
              <a:defRPr sz="1194"/>
            </a:lvl4pPr>
            <a:lvl5pPr>
              <a:defRPr sz="119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0" name="Text Placeholder 8">
            <a:extLst>
              <a:ext uri="{FF2B5EF4-FFF2-40B4-BE49-F238E27FC236}">
                <a16:creationId xmlns:a16="http://schemas.microsoft.com/office/drawing/2014/main" id="{E8B6691E-17EA-480D-B598-F314E1A68E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03201" y="1331913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194">
                <a:solidFill>
                  <a:schemeClr val="bg1"/>
                </a:solidFill>
              </a:defRPr>
            </a:lvl1pPr>
            <a:lvl2pPr>
              <a:defRPr sz="1114"/>
            </a:lvl2pPr>
            <a:lvl3pPr>
              <a:defRPr sz="1114"/>
            </a:lvl3pPr>
            <a:lvl4pPr>
              <a:defRPr sz="1114"/>
            </a:lvl4pPr>
            <a:lvl5pPr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8">
            <a:extLst>
              <a:ext uri="{FF2B5EF4-FFF2-40B4-BE49-F238E27FC236}">
                <a16:creationId xmlns:a16="http://schemas.microsoft.com/office/drawing/2014/main" id="{59F2358C-C167-462D-9F76-6D66B9B409B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20800" y="1720715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194"/>
            </a:lvl1pPr>
            <a:lvl2pPr>
              <a:defRPr sz="1194"/>
            </a:lvl2pPr>
            <a:lvl3pPr>
              <a:defRPr sz="1194"/>
            </a:lvl3pPr>
            <a:lvl4pPr>
              <a:defRPr sz="1194"/>
            </a:lvl4pPr>
            <a:lvl5pPr>
              <a:defRPr sz="119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B2FCC9C9-35DE-4F3C-A352-30EE65DD5B8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20800" y="1331913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194">
                <a:solidFill>
                  <a:schemeClr val="bg1"/>
                </a:solidFill>
              </a:defRPr>
            </a:lvl1pPr>
            <a:lvl2pPr>
              <a:defRPr sz="1114"/>
            </a:lvl2pPr>
            <a:lvl3pPr>
              <a:defRPr sz="1114"/>
            </a:lvl3pPr>
            <a:lvl4pPr>
              <a:defRPr sz="1114"/>
            </a:lvl4pPr>
            <a:lvl5pPr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Text Placeholder 8">
            <a:extLst>
              <a:ext uri="{FF2B5EF4-FFF2-40B4-BE49-F238E27FC236}">
                <a16:creationId xmlns:a16="http://schemas.microsoft.com/office/drawing/2014/main" id="{EA017BC0-9170-4186-94F7-40E80F981A0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003201" y="4130720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194"/>
            </a:lvl1pPr>
            <a:lvl2pPr>
              <a:defRPr sz="1194"/>
            </a:lvl2pPr>
            <a:lvl3pPr>
              <a:defRPr sz="1194"/>
            </a:lvl3pPr>
            <a:lvl4pPr>
              <a:defRPr sz="1194"/>
            </a:lvl4pPr>
            <a:lvl5pPr>
              <a:defRPr sz="119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0383342E-84C2-404C-8D37-45747A19160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03201" y="3741920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194">
                <a:solidFill>
                  <a:schemeClr val="bg1"/>
                </a:solidFill>
              </a:defRPr>
            </a:lvl1pPr>
            <a:lvl2pPr>
              <a:defRPr sz="1114"/>
            </a:lvl2pPr>
            <a:lvl3pPr>
              <a:defRPr sz="1114"/>
            </a:lvl3pPr>
            <a:lvl4pPr>
              <a:defRPr sz="1114"/>
            </a:lvl4pPr>
            <a:lvl5pPr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5" name="Text Placeholder 8">
            <a:extLst>
              <a:ext uri="{FF2B5EF4-FFF2-40B4-BE49-F238E27FC236}">
                <a16:creationId xmlns:a16="http://schemas.microsoft.com/office/drawing/2014/main" id="{BE27B3E2-E887-473C-8464-38B061F67EA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20800" y="4130720"/>
            <a:ext cx="4968000" cy="1746205"/>
          </a:xfrm>
          <a:solidFill>
            <a:srgbClr val="DCE6EE"/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194"/>
            </a:lvl1pPr>
            <a:lvl2pPr>
              <a:defRPr sz="1194"/>
            </a:lvl2pPr>
            <a:lvl3pPr>
              <a:defRPr sz="1194"/>
            </a:lvl3pPr>
            <a:lvl4pPr>
              <a:defRPr sz="1194"/>
            </a:lvl4pPr>
            <a:lvl5pPr>
              <a:defRPr sz="119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4C0C9B8C-19B0-44D7-9F0F-975D45D4007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20800" y="3741920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194">
                <a:solidFill>
                  <a:schemeClr val="bg1"/>
                </a:solidFill>
              </a:defRPr>
            </a:lvl1pPr>
            <a:lvl2pPr>
              <a:defRPr sz="1114"/>
            </a:lvl2pPr>
            <a:lvl3pPr>
              <a:defRPr sz="1114"/>
            </a:lvl3pPr>
            <a:lvl4pPr>
              <a:defRPr sz="1114"/>
            </a:lvl4pPr>
            <a:lvl5pPr>
              <a:defRPr sz="111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366202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/>
          </p:cNvSpPr>
          <p:nvPr userDrawn="1"/>
        </p:nvSpPr>
        <p:spPr>
          <a:xfrm>
            <a:off x="998477" y="744447"/>
            <a:ext cx="7091424" cy="5328116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43200" tIns="143200" rIns="143200" bIns="1432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7002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1" y="2398602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6365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1" y="5147448"/>
            <a:ext cx="5252400" cy="407035"/>
          </a:xfrm>
        </p:spPr>
        <p:txBody>
          <a:bodyPr wrap="square" anchor="b">
            <a:spAutoFit/>
          </a:bodyPr>
          <a:lstStyle>
            <a:lvl1pPr>
              <a:defRPr sz="1114">
                <a:solidFill>
                  <a:schemeClr val="bg1"/>
                </a:solidFill>
              </a:defRPr>
            </a:lvl1pPr>
            <a:lvl2pPr>
              <a:defRPr sz="1114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9861" y="1140069"/>
            <a:ext cx="1082675" cy="646428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5251" kern="12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86454650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gradFill flip="none" rotWithShape="1">
          <a:gsLst>
            <a:gs pos="0">
              <a:schemeClr val="accent5"/>
            </a:gs>
            <a:gs pos="100000">
              <a:schemeClr val="accent1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BAF31653-DA95-4567-9106-71E1E49BA627}"/>
              </a:ext>
            </a:extLst>
          </p:cNvPr>
          <p:cNvSpPr>
            <a:spLocks/>
          </p:cNvSpPr>
          <p:nvPr userDrawn="1"/>
        </p:nvSpPr>
        <p:spPr>
          <a:xfrm>
            <a:off x="998477" y="971551"/>
            <a:ext cx="7091424" cy="4925962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43200" tIns="143200" rIns="143200" bIns="1432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7002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2925CE2F-8945-49DE-BCC2-8BCACF480E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1" y="5147448"/>
            <a:ext cx="5252400" cy="407035"/>
          </a:xfrm>
        </p:spPr>
        <p:txBody>
          <a:bodyPr wrap="square" anchor="b">
            <a:spAutoFit/>
          </a:bodyPr>
          <a:lstStyle>
            <a:lvl1pPr>
              <a:defRPr sz="1114">
                <a:solidFill>
                  <a:schemeClr val="accent2"/>
                </a:solidFill>
              </a:defRPr>
            </a:lvl1pPr>
            <a:lvl2pPr>
              <a:defRPr sz="1114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C346F2F1-AF73-4284-8702-745152AF53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1" y="1140069"/>
            <a:ext cx="1082675" cy="646428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5251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1" y="2398602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6365" baseline="0">
                <a:solidFill>
                  <a:schemeClr val="accent2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09824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A87A788-0BF5-4419-BCFC-809F6D2E93AA}"/>
              </a:ext>
            </a:extLst>
          </p:cNvPr>
          <p:cNvSpPr>
            <a:spLocks/>
          </p:cNvSpPr>
          <p:nvPr userDrawn="1"/>
        </p:nvSpPr>
        <p:spPr>
          <a:xfrm>
            <a:off x="998477" y="971551"/>
            <a:ext cx="7091424" cy="4925962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ACEAFF"/>
              </a:gs>
            </a:gsLst>
            <a:lin ang="0" scaled="0"/>
          </a:gradFill>
        </p:spPr>
        <p:txBody>
          <a:bodyPr vert="horz" lIns="143200" tIns="143200" rIns="143200" bIns="1432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7002" baseline="0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1" y="2398602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6365" baseline="0">
                <a:solidFill>
                  <a:schemeClr val="accent2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5F7723F4-8321-43A3-962F-3DEEE5C6D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1" y="5147448"/>
            <a:ext cx="5252400" cy="407035"/>
          </a:xfrm>
        </p:spPr>
        <p:txBody>
          <a:bodyPr wrap="square" anchor="b">
            <a:spAutoFit/>
          </a:bodyPr>
          <a:lstStyle>
            <a:lvl1pPr>
              <a:defRPr sz="1114">
                <a:solidFill>
                  <a:schemeClr val="accent2"/>
                </a:solidFill>
              </a:defRPr>
            </a:lvl1pPr>
            <a:lvl2pPr>
              <a:defRPr sz="1114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17B18B8B-EB09-48D8-AC31-3A9DFAC0B7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1" y="1140069"/>
            <a:ext cx="1082675" cy="646428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5251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9656780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dark Gradient">
    <p:bg>
      <p:bgPr>
        <a:gradFill>
          <a:gsLst>
            <a:gs pos="100000">
              <a:schemeClr val="accent1"/>
            </a:gs>
            <a:gs pos="0">
              <a:schemeClr val="accent5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936946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light gradient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185712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FF5724-C137-47F3-B441-6C1B9714F5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CC0FFF-EDF5-49D0-8C1F-A5D5BA3335B9}"/>
              </a:ext>
            </a:extLst>
          </p:cNvPr>
          <p:cNvSpPr/>
          <p:nvPr userDrawn="1"/>
        </p:nvSpPr>
        <p:spPr>
          <a:xfrm>
            <a:off x="998351" y="2246534"/>
            <a:ext cx="839614" cy="411225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r>
              <a:rPr lang="en-GB" sz="637">
                <a:solidFill>
                  <a:schemeClr val="bg1"/>
                </a:solidFill>
              </a:rPr>
              <a:t>30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73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226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1F4118-D01B-40DD-940F-068338DB15A5}"/>
              </a:ext>
            </a:extLst>
          </p:cNvPr>
          <p:cNvSpPr/>
          <p:nvPr userDrawn="1"/>
        </p:nvSpPr>
        <p:spPr>
          <a:xfrm>
            <a:off x="998351" y="1731972"/>
            <a:ext cx="839614" cy="411225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r>
              <a:rPr lang="en-GB" sz="637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14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97C791-7BB0-4AC9-BDE9-68939F34221B}"/>
              </a:ext>
            </a:extLst>
          </p:cNvPr>
          <p:cNvSpPr/>
          <p:nvPr userDrawn="1"/>
        </p:nvSpPr>
        <p:spPr>
          <a:xfrm>
            <a:off x="998351" y="2761095"/>
            <a:ext cx="839614" cy="411225"/>
          </a:xfrm>
          <a:prstGeom prst="rect">
            <a:avLst/>
          </a:prstGeom>
          <a:solidFill>
            <a:srgbClr val="0C2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r>
              <a:rPr lang="en-GB" sz="637">
                <a:solidFill>
                  <a:schemeClr val="bg1"/>
                </a:solidFill>
              </a:rPr>
              <a:t>12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35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6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693543-F502-48B0-9E65-053408E60BF0}"/>
              </a:ext>
            </a:extLst>
          </p:cNvPr>
          <p:cNvSpPr/>
          <p:nvPr userDrawn="1"/>
        </p:nvSpPr>
        <p:spPr>
          <a:xfrm>
            <a:off x="998351" y="3275657"/>
            <a:ext cx="839614" cy="411225"/>
          </a:xfrm>
          <a:prstGeom prst="rect">
            <a:avLst/>
          </a:prstGeom>
          <a:solidFill>
            <a:srgbClr val="AC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r>
              <a:rPr lang="en-GB" sz="637">
                <a:solidFill>
                  <a:sysClr val="windowText" lastClr="000000"/>
                </a:solidFill>
              </a:rPr>
              <a:t>172</a:t>
            </a:r>
          </a:p>
          <a:p>
            <a:pPr algn="ctr"/>
            <a:r>
              <a:rPr lang="en-GB" sz="637">
                <a:solidFill>
                  <a:sysClr val="windowText" lastClr="000000"/>
                </a:solidFill>
              </a:rPr>
              <a:t>234</a:t>
            </a:r>
          </a:p>
          <a:p>
            <a:pPr algn="ctr"/>
            <a:r>
              <a:rPr lang="en-GB" sz="637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897B22-3CA8-4621-8A3B-B9D2E3D07988}"/>
              </a:ext>
            </a:extLst>
          </p:cNvPr>
          <p:cNvSpPr txBox="1"/>
          <p:nvPr userDrawn="1"/>
        </p:nvSpPr>
        <p:spPr>
          <a:xfrm>
            <a:off x="983883" y="1330325"/>
            <a:ext cx="1364045" cy="1224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477"/>
              </a:spcAft>
            </a:pPr>
            <a:r>
              <a:rPr lang="en-US" sz="796" b="1">
                <a:solidFill>
                  <a:sysClr val="windowText" lastClr="000000"/>
                </a:solidFill>
              </a:rPr>
              <a:t>Primary Colo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07E492-5EF0-4085-AA14-90D280B1DF69}"/>
              </a:ext>
            </a:extLst>
          </p:cNvPr>
          <p:cNvSpPr txBox="1"/>
          <p:nvPr userDrawn="1"/>
        </p:nvSpPr>
        <p:spPr>
          <a:xfrm>
            <a:off x="1921683" y="2852903"/>
            <a:ext cx="1253995" cy="237066"/>
          </a:xfrm>
          <a:prstGeom prst="rect">
            <a:avLst/>
          </a:prstGeom>
          <a:noFill/>
        </p:spPr>
        <p:txBody>
          <a:bodyPr wrap="square" lIns="43445" tIns="43445" rIns="43445" bIns="43445" rtlCol="0" anchor="ctr">
            <a:noAutofit/>
          </a:bodyPr>
          <a:lstStyle/>
          <a:p>
            <a:pPr algn="l">
              <a:spcAft>
                <a:spcPts val="477"/>
              </a:spcAft>
            </a:pPr>
            <a:r>
              <a:rPr lang="en-GB" sz="796"/>
              <a:t>Spectrum Blu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28A2D81-3A9C-47D3-8174-874F601607DC}"/>
              </a:ext>
            </a:extLst>
          </p:cNvPr>
          <p:cNvSpPr txBox="1"/>
          <p:nvPr userDrawn="1"/>
        </p:nvSpPr>
        <p:spPr>
          <a:xfrm>
            <a:off x="1921683" y="1830789"/>
            <a:ext cx="1253995" cy="237066"/>
          </a:xfrm>
          <a:prstGeom prst="rect">
            <a:avLst/>
          </a:prstGeom>
          <a:noFill/>
        </p:spPr>
        <p:txBody>
          <a:bodyPr wrap="square" lIns="43445" tIns="43445" rIns="43445" bIns="43445" rtlCol="0" anchor="ctr">
            <a:noAutofit/>
          </a:bodyPr>
          <a:lstStyle/>
          <a:p>
            <a:pPr algn="l">
              <a:spcAft>
                <a:spcPts val="477"/>
              </a:spcAft>
            </a:pPr>
            <a:r>
              <a:rPr lang="en-GB" sz="796"/>
              <a:t>KPMG blu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C791116-D184-4C43-9C1C-30181CDF0E84}"/>
              </a:ext>
            </a:extLst>
          </p:cNvPr>
          <p:cNvSpPr txBox="1"/>
          <p:nvPr userDrawn="1"/>
        </p:nvSpPr>
        <p:spPr>
          <a:xfrm>
            <a:off x="1921683" y="3363960"/>
            <a:ext cx="1253995" cy="237066"/>
          </a:xfrm>
          <a:prstGeom prst="rect">
            <a:avLst/>
          </a:prstGeom>
          <a:noFill/>
        </p:spPr>
        <p:txBody>
          <a:bodyPr wrap="square" lIns="43445" tIns="43445" rIns="43445" bIns="43445" rtlCol="0" anchor="ctr">
            <a:noAutofit/>
          </a:bodyPr>
          <a:lstStyle/>
          <a:p>
            <a:pPr algn="l">
              <a:spcAft>
                <a:spcPts val="477"/>
              </a:spcAft>
            </a:pPr>
            <a:r>
              <a:rPr lang="en-GB" sz="796"/>
              <a:t>Light Blu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6B15E2D-58A0-4506-8A15-E27C173174FA}"/>
              </a:ext>
            </a:extLst>
          </p:cNvPr>
          <p:cNvGrpSpPr/>
          <p:nvPr userDrawn="1"/>
        </p:nvGrpSpPr>
        <p:grpSpPr>
          <a:xfrm>
            <a:off x="2999643" y="1731972"/>
            <a:ext cx="2177326" cy="411225"/>
            <a:chOff x="2992848" y="1717717"/>
            <a:chExt cx="2177326" cy="411225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2309040-9C95-48FE-AA99-4757E8328519}"/>
                </a:ext>
              </a:extLst>
            </p:cNvPr>
            <p:cNvSpPr/>
            <p:nvPr userDrawn="1"/>
          </p:nvSpPr>
          <p:spPr>
            <a:xfrm>
              <a:off x="2992848" y="1717717"/>
              <a:ext cx="839614" cy="411225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37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637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637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A430D78-5EDB-481E-BB6D-67D8689BCE11}"/>
                </a:ext>
              </a:extLst>
            </p:cNvPr>
            <p:cNvSpPr txBox="1"/>
            <p:nvPr userDrawn="1"/>
          </p:nvSpPr>
          <p:spPr>
            <a:xfrm>
              <a:off x="3916179" y="1802518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77"/>
                </a:spcAft>
              </a:pPr>
              <a:r>
                <a:rPr lang="en-GB" sz="796"/>
                <a:t>Blue</a:t>
              </a: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E42EE987-0425-4CD8-B75D-E3E8F8C2096D}"/>
              </a:ext>
            </a:extLst>
          </p:cNvPr>
          <p:cNvSpPr txBox="1"/>
          <p:nvPr userDrawn="1"/>
        </p:nvSpPr>
        <p:spPr>
          <a:xfrm>
            <a:off x="1921683" y="2341847"/>
            <a:ext cx="1253995" cy="237066"/>
          </a:xfrm>
          <a:prstGeom prst="rect">
            <a:avLst/>
          </a:prstGeom>
          <a:noFill/>
        </p:spPr>
        <p:txBody>
          <a:bodyPr wrap="square" lIns="43445" tIns="43445" rIns="43445" bIns="43445" rtlCol="0" anchor="ctr">
            <a:noAutofit/>
          </a:bodyPr>
          <a:lstStyle/>
          <a:p>
            <a:pPr algn="l">
              <a:spcAft>
                <a:spcPts val="477"/>
              </a:spcAft>
            </a:pPr>
            <a:r>
              <a:rPr lang="en-GB" sz="796"/>
              <a:t>Cobalt Blu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356161F-C4E7-4F32-B00D-D64EBA9D34CA}"/>
              </a:ext>
            </a:extLst>
          </p:cNvPr>
          <p:cNvGrpSpPr/>
          <p:nvPr userDrawn="1"/>
        </p:nvGrpSpPr>
        <p:grpSpPr>
          <a:xfrm>
            <a:off x="998352" y="3783825"/>
            <a:ext cx="2177326" cy="1433953"/>
            <a:chOff x="998351" y="4298384"/>
            <a:chExt cx="2177326" cy="143395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453D312-00EF-44B5-9D91-290BE0E19654}"/>
                </a:ext>
              </a:extLst>
            </p:cNvPr>
            <p:cNvSpPr/>
            <p:nvPr userDrawn="1"/>
          </p:nvSpPr>
          <p:spPr>
            <a:xfrm>
              <a:off x="998351" y="4298384"/>
              <a:ext cx="839614" cy="411225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37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8D98991-520C-4FD6-8B23-8732995E56B1}"/>
                </a:ext>
              </a:extLst>
            </p:cNvPr>
            <p:cNvSpPr/>
            <p:nvPr userDrawn="1"/>
          </p:nvSpPr>
          <p:spPr>
            <a:xfrm>
              <a:off x="998351" y="4812944"/>
              <a:ext cx="839614" cy="411225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37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FA38B4C-5B80-413E-B283-1F1ADBFD09CD}"/>
                </a:ext>
              </a:extLst>
            </p:cNvPr>
            <p:cNvSpPr/>
            <p:nvPr userDrawn="1"/>
          </p:nvSpPr>
          <p:spPr>
            <a:xfrm>
              <a:off x="998351" y="5321112"/>
              <a:ext cx="839614" cy="411225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37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B01B4DF-404A-4544-B313-2720FCBDD0B4}"/>
                </a:ext>
              </a:extLst>
            </p:cNvPr>
            <p:cNvSpPr txBox="1"/>
            <p:nvPr userDrawn="1"/>
          </p:nvSpPr>
          <p:spPr>
            <a:xfrm>
              <a:off x="1921682" y="4386074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77"/>
                </a:spcAft>
              </a:pPr>
              <a:r>
                <a:rPr lang="en-GB" sz="796"/>
                <a:t>Pacific Blue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6DFA940-4699-43CF-A21A-AE4227704697}"/>
                </a:ext>
              </a:extLst>
            </p:cNvPr>
            <p:cNvSpPr txBox="1"/>
            <p:nvPr userDrawn="1"/>
          </p:nvSpPr>
          <p:spPr>
            <a:xfrm>
              <a:off x="1921682" y="4897131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77"/>
                </a:spcAft>
              </a:pPr>
              <a:r>
                <a:rPr lang="en-GB" sz="796"/>
                <a:t>Purple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9A40265-6498-4E16-877D-6BC9A8CE7DCA}"/>
                </a:ext>
              </a:extLst>
            </p:cNvPr>
            <p:cNvSpPr txBox="1"/>
            <p:nvPr userDrawn="1"/>
          </p:nvSpPr>
          <p:spPr>
            <a:xfrm>
              <a:off x="1921682" y="5408191"/>
              <a:ext cx="1253995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77"/>
                </a:spcAft>
              </a:pPr>
              <a:r>
                <a:rPr lang="en-GB" sz="796"/>
                <a:t>Pink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8B231EB6-12A0-47AA-88B0-D248845383EA}"/>
              </a:ext>
            </a:extLst>
          </p:cNvPr>
          <p:cNvSpPr txBox="1"/>
          <p:nvPr userDrawn="1"/>
        </p:nvSpPr>
        <p:spPr>
          <a:xfrm>
            <a:off x="2992849" y="1330326"/>
            <a:ext cx="1946348" cy="2449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477"/>
              </a:spcAft>
            </a:pPr>
            <a:r>
              <a:rPr lang="en-US" sz="796" b="1">
                <a:solidFill>
                  <a:sysClr val="windowText" lastClr="000000"/>
                </a:solidFill>
              </a:rPr>
              <a:t>Accent Colors for Infographics and charts onl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B6D9AD-8E94-4A62-B92C-C973F5486E37}"/>
              </a:ext>
            </a:extLst>
          </p:cNvPr>
          <p:cNvSpPr/>
          <p:nvPr userDrawn="1"/>
        </p:nvSpPr>
        <p:spPr>
          <a:xfrm>
            <a:off x="2999644" y="2240140"/>
            <a:ext cx="839614" cy="411225"/>
          </a:xfrm>
          <a:prstGeom prst="rect">
            <a:avLst/>
          </a:prstGeom>
          <a:solidFill>
            <a:srgbClr val="510D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r>
              <a:rPr lang="en-GB" sz="637">
                <a:solidFill>
                  <a:schemeClr val="bg1"/>
                </a:solidFill>
              </a:rPr>
              <a:t>81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18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377AFC-4BDC-44AC-80A6-06A9503B868A}"/>
              </a:ext>
            </a:extLst>
          </p:cNvPr>
          <p:cNvSpPr/>
          <p:nvPr userDrawn="1"/>
        </p:nvSpPr>
        <p:spPr>
          <a:xfrm>
            <a:off x="2999644" y="2754702"/>
            <a:ext cx="839614" cy="411225"/>
          </a:xfrm>
          <a:prstGeom prst="rect">
            <a:avLst/>
          </a:prstGeom>
          <a:solidFill>
            <a:srgbClr val="B4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r>
              <a:rPr lang="en-GB" sz="637">
                <a:solidFill>
                  <a:schemeClr val="bg1"/>
                </a:solidFill>
              </a:rPr>
              <a:t>180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151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255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B8F1FC7-CA8A-485A-9440-4EA69DF44F1B}"/>
              </a:ext>
            </a:extLst>
          </p:cNvPr>
          <p:cNvSpPr/>
          <p:nvPr userDrawn="1"/>
        </p:nvSpPr>
        <p:spPr>
          <a:xfrm>
            <a:off x="2999644" y="3269263"/>
            <a:ext cx="839614" cy="411225"/>
          </a:xfrm>
          <a:prstGeom prst="rect">
            <a:avLst/>
          </a:prstGeom>
          <a:solidFill>
            <a:srgbClr val="AB0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r>
              <a:rPr lang="en-GB" sz="637">
                <a:solidFill>
                  <a:schemeClr val="bg1"/>
                </a:solidFill>
              </a:rPr>
              <a:t>171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13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F4DC1F0-F2DB-41DC-B843-C645575C978D}"/>
              </a:ext>
            </a:extLst>
          </p:cNvPr>
          <p:cNvSpPr/>
          <p:nvPr userDrawn="1"/>
        </p:nvSpPr>
        <p:spPr>
          <a:xfrm>
            <a:off x="2999644" y="3783825"/>
            <a:ext cx="839614" cy="411225"/>
          </a:xfrm>
          <a:prstGeom prst="rect">
            <a:avLst/>
          </a:prstGeom>
          <a:solidFill>
            <a:srgbClr val="FFA3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r>
              <a:rPr lang="en-GB" sz="637">
                <a:solidFill>
                  <a:sysClr val="windowText" lastClr="000000"/>
                </a:solidFill>
              </a:rPr>
              <a:t>255</a:t>
            </a:r>
          </a:p>
          <a:p>
            <a:pPr algn="ctr"/>
            <a:r>
              <a:rPr lang="en-GB" sz="637">
                <a:solidFill>
                  <a:sysClr val="windowText" lastClr="000000"/>
                </a:solidFill>
              </a:rPr>
              <a:t>163</a:t>
            </a:r>
          </a:p>
          <a:p>
            <a:pPr algn="ctr"/>
            <a:r>
              <a:rPr lang="en-GB" sz="637">
                <a:solidFill>
                  <a:sysClr val="windowText" lastClr="000000"/>
                </a:solidFill>
              </a:rPr>
              <a:t>218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FDCCC15-7DDA-4C27-A66A-86FEF3CE0FDB}"/>
              </a:ext>
            </a:extLst>
          </p:cNvPr>
          <p:cNvSpPr/>
          <p:nvPr userDrawn="1"/>
        </p:nvSpPr>
        <p:spPr>
          <a:xfrm>
            <a:off x="2999644" y="4298385"/>
            <a:ext cx="839614" cy="411225"/>
          </a:xfrm>
          <a:prstGeom prst="rect">
            <a:avLst/>
          </a:prstGeom>
          <a:solidFill>
            <a:srgbClr val="098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r>
              <a:rPr lang="en-GB" sz="637">
                <a:solidFill>
                  <a:schemeClr val="bg1"/>
                </a:solidFill>
              </a:rPr>
              <a:t>9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142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126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6A7B705-A81A-45EE-B7F8-A08C39775723}"/>
              </a:ext>
            </a:extLst>
          </p:cNvPr>
          <p:cNvSpPr/>
          <p:nvPr userDrawn="1"/>
        </p:nvSpPr>
        <p:spPr>
          <a:xfrm>
            <a:off x="2999644" y="4806553"/>
            <a:ext cx="839614" cy="411225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r>
              <a:rPr lang="en-GB" sz="637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192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174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0C56EF7-AC83-449B-8CC3-F1D314081B92}"/>
              </a:ext>
            </a:extLst>
          </p:cNvPr>
          <p:cNvSpPr/>
          <p:nvPr userDrawn="1"/>
        </p:nvSpPr>
        <p:spPr>
          <a:xfrm>
            <a:off x="2999644" y="5321113"/>
            <a:ext cx="839614" cy="411225"/>
          </a:xfrm>
          <a:prstGeom prst="rect">
            <a:avLst/>
          </a:prstGeom>
          <a:solidFill>
            <a:srgbClr val="63EB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r>
              <a:rPr lang="en-GB" sz="637">
                <a:solidFill>
                  <a:schemeClr val="accent3"/>
                </a:solidFill>
              </a:rPr>
              <a:t>99</a:t>
            </a:r>
          </a:p>
          <a:p>
            <a:pPr algn="ctr"/>
            <a:r>
              <a:rPr lang="en-GB" sz="637">
                <a:solidFill>
                  <a:schemeClr val="accent3"/>
                </a:solidFill>
              </a:rPr>
              <a:t>235</a:t>
            </a:r>
          </a:p>
          <a:p>
            <a:pPr algn="ctr"/>
            <a:r>
              <a:rPr lang="en-GB" sz="637">
                <a:solidFill>
                  <a:schemeClr val="accent3"/>
                </a:solidFill>
              </a:rPr>
              <a:t>218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4556660-1591-47B1-B18E-F2FCE5FDCA50}"/>
              </a:ext>
            </a:extLst>
          </p:cNvPr>
          <p:cNvGrpSpPr/>
          <p:nvPr userDrawn="1"/>
        </p:nvGrpSpPr>
        <p:grpSpPr>
          <a:xfrm>
            <a:off x="3971417" y="2338957"/>
            <a:ext cx="1253995" cy="3303408"/>
            <a:chOff x="2169429" y="1756308"/>
            <a:chExt cx="2286000" cy="3303408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1242448-F6EA-445E-86F6-56F1F6B8DCA0}"/>
                </a:ext>
              </a:extLst>
            </p:cNvPr>
            <p:cNvSpPr txBox="1"/>
            <p:nvPr userDrawn="1"/>
          </p:nvSpPr>
          <p:spPr>
            <a:xfrm>
              <a:off x="2169429" y="2778422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77"/>
                </a:spcAft>
              </a:pPr>
              <a:r>
                <a:rPr lang="en-GB" sz="796"/>
                <a:t>Dark Pink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9F2D96E-0391-44D3-9D85-C49CD2682224}"/>
                </a:ext>
              </a:extLst>
            </p:cNvPr>
            <p:cNvSpPr txBox="1"/>
            <p:nvPr userDrawn="1"/>
          </p:nvSpPr>
          <p:spPr>
            <a:xfrm>
              <a:off x="2169429" y="1756308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77"/>
                </a:spcAft>
              </a:pPr>
              <a:r>
                <a:rPr lang="en-GB" sz="796"/>
                <a:t>Dark Purple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12A9094-C141-4137-91C8-07CDF0270449}"/>
                </a:ext>
              </a:extLst>
            </p:cNvPr>
            <p:cNvSpPr txBox="1"/>
            <p:nvPr userDrawn="1"/>
          </p:nvSpPr>
          <p:spPr>
            <a:xfrm>
              <a:off x="2169429" y="3289479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77"/>
                </a:spcAft>
              </a:pPr>
              <a:r>
                <a:rPr lang="en-GB" sz="796"/>
                <a:t>Light Pink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455B7B5-73DE-46AF-B400-88997B50AD80}"/>
                </a:ext>
              </a:extLst>
            </p:cNvPr>
            <p:cNvSpPr txBox="1"/>
            <p:nvPr userDrawn="1"/>
          </p:nvSpPr>
          <p:spPr>
            <a:xfrm>
              <a:off x="2169429" y="3800536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77"/>
                </a:spcAft>
              </a:pPr>
              <a:r>
                <a:rPr lang="en-GB" sz="796"/>
                <a:t>Dark Green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B4C4881-6213-41A5-AC03-CCE78498A9AE}"/>
                </a:ext>
              </a:extLst>
            </p:cNvPr>
            <p:cNvSpPr txBox="1"/>
            <p:nvPr userDrawn="1"/>
          </p:nvSpPr>
          <p:spPr>
            <a:xfrm>
              <a:off x="2169429" y="2267365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77"/>
                </a:spcAft>
              </a:pPr>
              <a:r>
                <a:rPr lang="en-GB" sz="796"/>
                <a:t>Light Purpl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40387EA-5FDE-4F6F-BAF2-604549CCD0F0}"/>
                </a:ext>
              </a:extLst>
            </p:cNvPr>
            <p:cNvSpPr txBox="1"/>
            <p:nvPr userDrawn="1"/>
          </p:nvSpPr>
          <p:spPr>
            <a:xfrm>
              <a:off x="2169429" y="4311593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77"/>
                </a:spcAft>
              </a:pPr>
              <a:r>
                <a:rPr lang="en-GB" sz="796"/>
                <a:t>Green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92671DE-F6BD-48CB-B11C-208DD1F1CCB3}"/>
                </a:ext>
              </a:extLst>
            </p:cNvPr>
            <p:cNvSpPr txBox="1"/>
            <p:nvPr userDrawn="1"/>
          </p:nvSpPr>
          <p:spPr>
            <a:xfrm>
              <a:off x="2169429" y="4822650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477"/>
                </a:spcAft>
              </a:pPr>
              <a:r>
                <a:rPr lang="en-GB" sz="796"/>
                <a:t>Light Green</a:t>
              </a:r>
            </a:p>
          </p:txBody>
        </p: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35C7B945-9627-4D94-B008-C987FEA96972}"/>
              </a:ext>
            </a:extLst>
          </p:cNvPr>
          <p:cNvSpPr/>
          <p:nvPr userDrawn="1"/>
        </p:nvSpPr>
        <p:spPr>
          <a:xfrm>
            <a:off x="5232206" y="1731972"/>
            <a:ext cx="839614" cy="411225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r>
              <a:rPr lang="en-GB" sz="637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51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EB1F170-4966-4AAF-ABAA-3D2A0369F7FA}"/>
              </a:ext>
            </a:extLst>
          </p:cNvPr>
          <p:cNvSpPr/>
          <p:nvPr userDrawn="1"/>
        </p:nvSpPr>
        <p:spPr>
          <a:xfrm>
            <a:off x="5232206" y="2246534"/>
            <a:ext cx="839614" cy="411225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r>
              <a:rPr lang="en-GB" sz="637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102</a:t>
            </a:r>
          </a:p>
          <a:p>
            <a:pPr algn="ctr"/>
            <a:endParaRPr lang="en-GB" sz="637">
              <a:solidFill>
                <a:schemeClr val="bg1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033C2B2-E4D1-4420-8509-EC1E2C80321F}"/>
              </a:ext>
            </a:extLst>
          </p:cNvPr>
          <p:cNvSpPr txBox="1"/>
          <p:nvPr userDrawn="1"/>
        </p:nvSpPr>
        <p:spPr>
          <a:xfrm>
            <a:off x="5225412" y="1330326"/>
            <a:ext cx="1545228" cy="2449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477"/>
              </a:spcAft>
            </a:pPr>
            <a:r>
              <a:rPr lang="en-US" sz="796" b="1">
                <a:solidFill>
                  <a:sysClr val="windowText" lastClr="000000"/>
                </a:solidFill>
              </a:rPr>
              <a:t>Neutrals for Infographics and charts only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BFC6FF0-9D30-4829-A667-26B9E6467077}"/>
              </a:ext>
            </a:extLst>
          </p:cNvPr>
          <p:cNvSpPr/>
          <p:nvPr userDrawn="1"/>
        </p:nvSpPr>
        <p:spPr>
          <a:xfrm>
            <a:off x="5232206" y="2761095"/>
            <a:ext cx="839614" cy="411225"/>
          </a:xfrm>
          <a:prstGeom prst="rect">
            <a:avLst/>
          </a:prstGeom>
          <a:solidFill>
            <a:srgbClr val="9898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r>
              <a:rPr lang="en-GB" sz="637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152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F40F7A4-A491-46D0-AC78-F38FB368D987}"/>
              </a:ext>
            </a:extLst>
          </p:cNvPr>
          <p:cNvSpPr/>
          <p:nvPr userDrawn="1"/>
        </p:nvSpPr>
        <p:spPr>
          <a:xfrm>
            <a:off x="5232206" y="3275657"/>
            <a:ext cx="839614" cy="411225"/>
          </a:xfrm>
          <a:prstGeom prst="rect">
            <a:avLst/>
          </a:prstGeom>
          <a:solidFill>
            <a:srgbClr val="B2B2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r>
              <a:rPr lang="en-GB" sz="637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637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637">
                <a:solidFill>
                  <a:sysClr val="windowText" lastClr="000000"/>
                </a:solidFill>
              </a:rPr>
              <a:t>178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22CE48C-CD62-438B-AF1B-E80398CE41CF}"/>
              </a:ext>
            </a:extLst>
          </p:cNvPr>
          <p:cNvSpPr/>
          <p:nvPr userDrawn="1"/>
        </p:nvSpPr>
        <p:spPr>
          <a:xfrm>
            <a:off x="5232206" y="3790217"/>
            <a:ext cx="839614" cy="41122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r>
              <a:rPr lang="en-GB" sz="637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637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637">
                <a:solidFill>
                  <a:schemeClr val="tx1"/>
                </a:solidFill>
              </a:rPr>
              <a:t>229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FA814C9-BD96-4348-B664-2AD4A5DAAB12}"/>
              </a:ext>
            </a:extLst>
          </p:cNvPr>
          <p:cNvSpPr txBox="1"/>
          <p:nvPr userDrawn="1"/>
        </p:nvSpPr>
        <p:spPr>
          <a:xfrm>
            <a:off x="6203980" y="2852903"/>
            <a:ext cx="714476" cy="237066"/>
          </a:xfrm>
          <a:prstGeom prst="rect">
            <a:avLst/>
          </a:prstGeom>
          <a:noFill/>
        </p:spPr>
        <p:txBody>
          <a:bodyPr wrap="square" lIns="43445" tIns="43445" rIns="43445" bIns="43445" rtlCol="0" anchor="ctr">
            <a:noAutofit/>
          </a:bodyPr>
          <a:lstStyle/>
          <a:p>
            <a:pPr algn="l">
              <a:spcAft>
                <a:spcPts val="477"/>
              </a:spcAft>
            </a:pPr>
            <a:r>
              <a:rPr lang="en-GB" sz="796"/>
              <a:t>Grey 3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38E8C09-0782-4E70-887B-080A8FC240A9}"/>
              </a:ext>
            </a:extLst>
          </p:cNvPr>
          <p:cNvSpPr txBox="1"/>
          <p:nvPr userDrawn="1"/>
        </p:nvSpPr>
        <p:spPr>
          <a:xfrm>
            <a:off x="6203980" y="1830789"/>
            <a:ext cx="714476" cy="237066"/>
          </a:xfrm>
          <a:prstGeom prst="rect">
            <a:avLst/>
          </a:prstGeom>
          <a:noFill/>
        </p:spPr>
        <p:txBody>
          <a:bodyPr wrap="square" lIns="43445" tIns="43445" rIns="43445" bIns="43445" rtlCol="0" anchor="ctr">
            <a:noAutofit/>
          </a:bodyPr>
          <a:lstStyle/>
          <a:p>
            <a:pPr algn="l">
              <a:spcAft>
                <a:spcPts val="477"/>
              </a:spcAft>
            </a:pPr>
            <a:r>
              <a:rPr lang="en-GB" sz="796"/>
              <a:t>Grey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C3E17E9-EAB5-401D-99B5-E01BBCBAAE59}"/>
              </a:ext>
            </a:extLst>
          </p:cNvPr>
          <p:cNvSpPr txBox="1"/>
          <p:nvPr userDrawn="1"/>
        </p:nvSpPr>
        <p:spPr>
          <a:xfrm>
            <a:off x="6203980" y="3363960"/>
            <a:ext cx="714476" cy="237066"/>
          </a:xfrm>
          <a:prstGeom prst="rect">
            <a:avLst/>
          </a:prstGeom>
          <a:noFill/>
        </p:spPr>
        <p:txBody>
          <a:bodyPr wrap="square" lIns="43445" tIns="43445" rIns="43445" bIns="43445" rtlCol="0" anchor="ctr">
            <a:noAutofit/>
          </a:bodyPr>
          <a:lstStyle/>
          <a:p>
            <a:pPr algn="l">
              <a:spcAft>
                <a:spcPts val="477"/>
              </a:spcAft>
            </a:pPr>
            <a:r>
              <a:rPr lang="en-GB" sz="796"/>
              <a:t>Grey 4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A95C41B-9591-4042-8AC0-03DBDA91FD18}"/>
              </a:ext>
            </a:extLst>
          </p:cNvPr>
          <p:cNvSpPr txBox="1"/>
          <p:nvPr userDrawn="1"/>
        </p:nvSpPr>
        <p:spPr>
          <a:xfrm>
            <a:off x="6203980" y="3875018"/>
            <a:ext cx="714476" cy="237066"/>
          </a:xfrm>
          <a:prstGeom prst="rect">
            <a:avLst/>
          </a:prstGeom>
          <a:noFill/>
        </p:spPr>
        <p:txBody>
          <a:bodyPr wrap="square" lIns="43445" tIns="43445" rIns="43445" bIns="43445" rtlCol="0" anchor="ctr">
            <a:noAutofit/>
          </a:bodyPr>
          <a:lstStyle/>
          <a:p>
            <a:pPr algn="l">
              <a:spcAft>
                <a:spcPts val="477"/>
              </a:spcAft>
            </a:pPr>
            <a:r>
              <a:rPr lang="en-GB" sz="796"/>
              <a:t>Grey 5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924189F-5F86-46B9-810F-1AF60243011B}"/>
              </a:ext>
            </a:extLst>
          </p:cNvPr>
          <p:cNvSpPr txBox="1"/>
          <p:nvPr userDrawn="1"/>
        </p:nvSpPr>
        <p:spPr>
          <a:xfrm>
            <a:off x="6203980" y="2341847"/>
            <a:ext cx="714476" cy="237066"/>
          </a:xfrm>
          <a:prstGeom prst="rect">
            <a:avLst/>
          </a:prstGeom>
          <a:noFill/>
        </p:spPr>
        <p:txBody>
          <a:bodyPr wrap="square" lIns="43445" tIns="43445" rIns="43445" bIns="43445" rtlCol="0" anchor="ctr">
            <a:noAutofit/>
          </a:bodyPr>
          <a:lstStyle/>
          <a:p>
            <a:pPr algn="l">
              <a:spcAft>
                <a:spcPts val="477"/>
              </a:spcAft>
            </a:pPr>
            <a:r>
              <a:rPr lang="en-GB" sz="796"/>
              <a:t>Grey 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ACB48A6-B340-401D-8994-A0E53291AC9B}"/>
              </a:ext>
            </a:extLst>
          </p:cNvPr>
          <p:cNvSpPr/>
          <p:nvPr userDrawn="1"/>
        </p:nvSpPr>
        <p:spPr>
          <a:xfrm>
            <a:off x="7170485" y="2670084"/>
            <a:ext cx="839614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endParaRPr lang="en-GB" sz="637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6F71474-A782-4BB1-8B9F-8DCCEAF88E0C}"/>
              </a:ext>
            </a:extLst>
          </p:cNvPr>
          <p:cNvSpPr/>
          <p:nvPr userDrawn="1"/>
        </p:nvSpPr>
        <p:spPr>
          <a:xfrm>
            <a:off x="9170077" y="2670084"/>
            <a:ext cx="839614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endParaRPr lang="en-GB" sz="637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102BFCC-8EF9-4273-ADB0-A655CD827F66}"/>
              </a:ext>
            </a:extLst>
          </p:cNvPr>
          <p:cNvSpPr txBox="1"/>
          <p:nvPr userDrawn="1"/>
        </p:nvSpPr>
        <p:spPr>
          <a:xfrm>
            <a:off x="8028291" y="2757773"/>
            <a:ext cx="1568421" cy="237066"/>
          </a:xfrm>
          <a:prstGeom prst="rect">
            <a:avLst/>
          </a:prstGeom>
          <a:noFill/>
        </p:spPr>
        <p:txBody>
          <a:bodyPr wrap="square" lIns="43445" tIns="43445" rIns="43445" bIns="43445" rtlCol="0" anchor="ctr">
            <a:noAutofit/>
          </a:bodyPr>
          <a:lstStyle/>
          <a:p>
            <a:pPr algn="l">
              <a:spcAft>
                <a:spcPts val="477"/>
              </a:spcAft>
            </a:pPr>
            <a:r>
              <a:rPr lang="en-GB" sz="796"/>
              <a:t>Purple/</a:t>
            </a:r>
            <a:br>
              <a:rPr lang="en-GB" sz="796"/>
            </a:br>
            <a:r>
              <a:rPr lang="en-GB" sz="796"/>
              <a:t>Cobalt gradi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2D8D802-07C6-434C-B36C-582D2F2FAF7C}"/>
              </a:ext>
            </a:extLst>
          </p:cNvPr>
          <p:cNvSpPr txBox="1"/>
          <p:nvPr userDrawn="1"/>
        </p:nvSpPr>
        <p:spPr>
          <a:xfrm>
            <a:off x="10100207" y="2869887"/>
            <a:ext cx="1709098" cy="237066"/>
          </a:xfrm>
          <a:prstGeom prst="rect">
            <a:avLst/>
          </a:prstGeom>
          <a:noFill/>
        </p:spPr>
        <p:txBody>
          <a:bodyPr wrap="square" lIns="43445" tIns="43445" rIns="43445" bIns="43445" rtlCol="0" anchor="ctr">
            <a:noAutofit/>
          </a:bodyPr>
          <a:lstStyle/>
          <a:p>
            <a:pPr algn="l">
              <a:spcAft>
                <a:spcPts val="477"/>
              </a:spcAft>
            </a:pPr>
            <a:r>
              <a:rPr lang="en-GB" sz="796"/>
              <a:t>Pacific/</a:t>
            </a:r>
            <a:br>
              <a:rPr lang="en-GB" sz="796"/>
            </a:br>
            <a:r>
              <a:rPr lang="en-GB" sz="796"/>
              <a:t>Light Blue gradien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56630A0-1CC3-4558-99F3-72A9846C3FA4}"/>
              </a:ext>
            </a:extLst>
          </p:cNvPr>
          <p:cNvSpPr txBox="1"/>
          <p:nvPr userDrawn="1"/>
        </p:nvSpPr>
        <p:spPr>
          <a:xfrm>
            <a:off x="7146554" y="1298952"/>
            <a:ext cx="4047046" cy="8940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39"/>
              </a:spcAft>
            </a:pPr>
            <a:r>
              <a:rPr lang="en-US" sz="796" b="1">
                <a:solidFill>
                  <a:sysClr val="windowText" lastClr="000000"/>
                </a:solidFill>
              </a:rPr>
              <a:t>Gradients</a:t>
            </a:r>
          </a:p>
          <a:p>
            <a:pPr marL="136408" indent="-136408" algn="l">
              <a:spcAft>
                <a:spcPts val="239"/>
              </a:spcAft>
              <a:buFont typeface="Arial" panose="020B0604020202020204" pitchFamily="34" charset="0"/>
              <a:buChar char="•"/>
            </a:pPr>
            <a:r>
              <a:rPr lang="en-GB" sz="796" b="0">
                <a:solidFill>
                  <a:sysClr val="windowText" lastClr="000000"/>
                </a:solidFill>
              </a:rPr>
              <a:t>The colors are applied at both ends of the gradient, at 0% and 100% locations</a:t>
            </a:r>
          </a:p>
          <a:p>
            <a:pPr marL="136408" indent="-136408" algn="l">
              <a:spcAft>
                <a:spcPts val="239"/>
              </a:spcAft>
              <a:buFont typeface="Arial" panose="020B0604020202020204" pitchFamily="34" charset="0"/>
              <a:buChar char="•"/>
            </a:pPr>
            <a:r>
              <a:rPr lang="en-GB" sz="796" b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36408" indent="-136408" algn="l">
              <a:spcAft>
                <a:spcPts val="239"/>
              </a:spcAft>
              <a:buFont typeface="Arial" panose="020B0604020202020204" pitchFamily="34" charset="0"/>
              <a:buChar char="•"/>
            </a:pPr>
            <a:r>
              <a:rPr lang="en-GB" sz="796" b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36408" indent="-136408" algn="l">
              <a:spcAft>
                <a:spcPts val="239"/>
              </a:spcAft>
              <a:buFont typeface="Arial" panose="020B0604020202020204" pitchFamily="34" charset="0"/>
              <a:buChar char="•"/>
            </a:pPr>
            <a:r>
              <a:rPr lang="en-GB" sz="796" b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36408" indent="-136408" algn="l">
              <a:spcAft>
                <a:spcPts val="239"/>
              </a:spcAft>
              <a:buFont typeface="Arial" panose="020B0604020202020204" pitchFamily="34" charset="0"/>
              <a:buChar char="•"/>
            </a:pPr>
            <a:r>
              <a:rPr lang="en-GB" sz="796" b="0">
                <a:solidFill>
                  <a:sysClr val="windowText" lastClr="000000"/>
                </a:solidFill>
              </a:rPr>
              <a:t>Do not create new gradients; use only the gradients shown here</a:t>
            </a:r>
            <a:endParaRPr lang="en-US" sz="796" b="0">
              <a:solidFill>
                <a:sysClr val="windowText" lastClr="000000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D5AAA1F-BD76-48F7-8C50-6E5979B9537B}"/>
              </a:ext>
            </a:extLst>
          </p:cNvPr>
          <p:cNvSpPr>
            <a:spLocks/>
          </p:cNvSpPr>
          <p:nvPr userDrawn="1"/>
        </p:nvSpPr>
        <p:spPr>
          <a:xfrm>
            <a:off x="5225411" y="4304595"/>
            <a:ext cx="839614" cy="41122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r>
              <a:rPr lang="en-GB" sz="637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637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637">
                <a:solidFill>
                  <a:schemeClr val="tx1"/>
                </a:solidFill>
              </a:rPr>
              <a:t>255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485E89C-C25F-4DDF-BA6F-8600323267FE}"/>
              </a:ext>
            </a:extLst>
          </p:cNvPr>
          <p:cNvSpPr txBox="1"/>
          <p:nvPr userDrawn="1"/>
        </p:nvSpPr>
        <p:spPr>
          <a:xfrm>
            <a:off x="6197185" y="4389395"/>
            <a:ext cx="714476" cy="237066"/>
          </a:xfrm>
          <a:prstGeom prst="rect">
            <a:avLst/>
          </a:prstGeom>
          <a:noFill/>
        </p:spPr>
        <p:txBody>
          <a:bodyPr wrap="square" lIns="43445" tIns="43445" rIns="43445" bIns="43445" rtlCol="0" anchor="ctr">
            <a:noAutofit/>
          </a:bodyPr>
          <a:lstStyle/>
          <a:p>
            <a:pPr algn="l">
              <a:spcAft>
                <a:spcPts val="477"/>
              </a:spcAft>
            </a:pPr>
            <a:r>
              <a:rPr lang="en-GB" sz="796"/>
              <a:t>Whit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47E9F40-D028-425F-96B1-C73C59C9C8EF}"/>
              </a:ext>
            </a:extLst>
          </p:cNvPr>
          <p:cNvSpPr txBox="1"/>
          <p:nvPr userDrawn="1"/>
        </p:nvSpPr>
        <p:spPr>
          <a:xfrm>
            <a:off x="7146555" y="3336982"/>
            <a:ext cx="1194238" cy="153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477"/>
              </a:spcAft>
            </a:pPr>
            <a:r>
              <a:rPr lang="en-US" sz="796" b="1">
                <a:solidFill>
                  <a:sysClr val="windowText" lastClr="000000"/>
                </a:solidFill>
              </a:rPr>
              <a:t>Traffic Light Palette</a:t>
            </a:r>
            <a:endParaRPr lang="en-US" sz="796" b="0">
              <a:solidFill>
                <a:sysClr val="windowText" lastClr="000000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2E77BBC-829E-4B5B-9C1B-B9C1344A811F}"/>
              </a:ext>
            </a:extLst>
          </p:cNvPr>
          <p:cNvSpPr>
            <a:spLocks/>
          </p:cNvSpPr>
          <p:nvPr userDrawn="1"/>
        </p:nvSpPr>
        <p:spPr>
          <a:xfrm>
            <a:off x="9353777" y="3589582"/>
            <a:ext cx="839614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r>
              <a:rPr lang="en-GB" sz="637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86053ADE-6CEF-4806-8C0F-B8BEED546A81}"/>
              </a:ext>
            </a:extLst>
          </p:cNvPr>
          <p:cNvSpPr>
            <a:spLocks/>
          </p:cNvSpPr>
          <p:nvPr userDrawn="1"/>
        </p:nvSpPr>
        <p:spPr>
          <a:xfrm>
            <a:off x="8262131" y="3589582"/>
            <a:ext cx="839614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r>
              <a:rPr lang="en-GB" sz="637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1FEC18AD-6921-4293-966A-F31741528B23}"/>
              </a:ext>
            </a:extLst>
          </p:cNvPr>
          <p:cNvSpPr>
            <a:spLocks/>
          </p:cNvSpPr>
          <p:nvPr userDrawn="1"/>
        </p:nvSpPr>
        <p:spPr>
          <a:xfrm>
            <a:off x="7170485" y="3589582"/>
            <a:ext cx="839614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445" tIns="43445" rIns="43445" bIns="43445" rtlCol="0" anchor="ctr"/>
          <a:lstStyle/>
          <a:p>
            <a:pPr algn="ctr"/>
            <a:r>
              <a:rPr lang="en-GB" sz="637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637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D3C657F-FD1E-40E0-B00F-F92EC3693861}"/>
              </a:ext>
            </a:extLst>
          </p:cNvPr>
          <p:cNvSpPr txBox="1"/>
          <p:nvPr userDrawn="1"/>
        </p:nvSpPr>
        <p:spPr>
          <a:xfrm>
            <a:off x="7146553" y="4285685"/>
            <a:ext cx="4159622" cy="6263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477"/>
              </a:spcAft>
            </a:pPr>
            <a:r>
              <a:rPr lang="en-US" sz="796" b="1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36408" indent="-136408" algn="l">
              <a:spcAft>
                <a:spcPts val="239"/>
              </a:spcAft>
              <a:buFont typeface="Arial" panose="020B0604020202020204" pitchFamily="34" charset="0"/>
              <a:buChar char="•"/>
            </a:pPr>
            <a:r>
              <a:rPr lang="en-US" sz="796" b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36408" indent="-136408" algn="l">
              <a:spcAft>
                <a:spcPts val="239"/>
              </a:spcAft>
              <a:buFont typeface="Arial" panose="020B0604020202020204" pitchFamily="34" charset="0"/>
              <a:buChar char="•"/>
            </a:pPr>
            <a:r>
              <a:rPr lang="en-US" sz="796" b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F87E5F4-3A2B-41F8-A4AA-BA7FFC573394}"/>
              </a:ext>
            </a:extLst>
          </p:cNvPr>
          <p:cNvCxnSpPr/>
          <p:nvPr userDrawn="1"/>
        </p:nvCxnSpPr>
        <p:spPr>
          <a:xfrm>
            <a:off x="7170486" y="3242602"/>
            <a:ext cx="402311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8639F51-9F8C-4D36-8737-7A3DAC84F1DA}"/>
              </a:ext>
            </a:extLst>
          </p:cNvPr>
          <p:cNvCxnSpPr/>
          <p:nvPr userDrawn="1"/>
        </p:nvCxnSpPr>
        <p:spPr>
          <a:xfrm>
            <a:off x="7170486" y="4176642"/>
            <a:ext cx="4023115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B8890E6-18C7-479B-B73B-0C731D264307}"/>
              </a:ext>
            </a:extLst>
          </p:cNvPr>
          <p:cNvGrpSpPr/>
          <p:nvPr userDrawn="1"/>
        </p:nvGrpSpPr>
        <p:grpSpPr>
          <a:xfrm>
            <a:off x="7170486" y="5015319"/>
            <a:ext cx="4023115" cy="868052"/>
            <a:chOff x="6942744" y="5227726"/>
            <a:chExt cx="6397168" cy="1380293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D9642345-2D6B-4C6E-A9F2-A02D26D51DDD}"/>
                </a:ext>
              </a:extLst>
            </p:cNvPr>
            <p:cNvSpPr/>
            <p:nvPr userDrawn="1"/>
          </p:nvSpPr>
          <p:spPr>
            <a:xfrm>
              <a:off x="8821942" y="5227726"/>
              <a:ext cx="759576" cy="592341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37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54B75BE9-8F9E-40F1-AE85-B929BD14E4F6}"/>
                </a:ext>
              </a:extLst>
            </p:cNvPr>
            <p:cNvSpPr/>
            <p:nvPr userDrawn="1"/>
          </p:nvSpPr>
          <p:spPr>
            <a:xfrm>
              <a:off x="6942744" y="5227726"/>
              <a:ext cx="759576" cy="592341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37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403512C6-1015-4893-B421-D2CA83BB28B7}"/>
                </a:ext>
              </a:extLst>
            </p:cNvPr>
            <p:cNvSpPr/>
            <p:nvPr userDrawn="1"/>
          </p:nvSpPr>
          <p:spPr>
            <a:xfrm>
              <a:off x="9761541" y="5227726"/>
              <a:ext cx="759576" cy="592341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37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637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637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8DF8AA28-67A9-4A84-A80F-52EFDEF62EC4}"/>
                </a:ext>
              </a:extLst>
            </p:cNvPr>
            <p:cNvSpPr/>
            <p:nvPr userDrawn="1"/>
          </p:nvSpPr>
          <p:spPr>
            <a:xfrm>
              <a:off x="11640737" y="5227726"/>
              <a:ext cx="759576" cy="592341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37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96ECD3EF-C613-49EC-B955-C33743E8DAF2}"/>
                </a:ext>
              </a:extLst>
            </p:cNvPr>
            <p:cNvSpPr/>
            <p:nvPr userDrawn="1"/>
          </p:nvSpPr>
          <p:spPr>
            <a:xfrm>
              <a:off x="8821942" y="6015678"/>
              <a:ext cx="759576" cy="592341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37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CEFF0E69-1303-4A97-A554-2617DBE38F85}"/>
                </a:ext>
              </a:extLst>
            </p:cNvPr>
            <p:cNvSpPr/>
            <p:nvPr userDrawn="1"/>
          </p:nvSpPr>
          <p:spPr>
            <a:xfrm>
              <a:off x="10701139" y="5227726"/>
              <a:ext cx="759576" cy="592341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37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D22E2F76-F5F9-4152-8B76-200BB23CF93D}"/>
                </a:ext>
              </a:extLst>
            </p:cNvPr>
            <p:cNvSpPr/>
            <p:nvPr userDrawn="1"/>
          </p:nvSpPr>
          <p:spPr>
            <a:xfrm>
              <a:off x="9761541" y="6015678"/>
              <a:ext cx="759576" cy="592341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37">
                  <a:solidFill>
                    <a:schemeClr val="bg1"/>
                  </a:solidFill>
                </a:rPr>
                <a:t>255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163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F294A2C6-DAFC-45CD-86AD-3902D99F3B8E}"/>
                </a:ext>
              </a:extLst>
            </p:cNvPr>
            <p:cNvSpPr/>
            <p:nvPr userDrawn="1"/>
          </p:nvSpPr>
          <p:spPr>
            <a:xfrm>
              <a:off x="6942744" y="6015678"/>
              <a:ext cx="759576" cy="592341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37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E318800B-9E93-4883-840B-696F82170F32}"/>
                </a:ext>
              </a:extLst>
            </p:cNvPr>
            <p:cNvSpPr/>
            <p:nvPr userDrawn="1"/>
          </p:nvSpPr>
          <p:spPr>
            <a:xfrm>
              <a:off x="12580336" y="6015678"/>
              <a:ext cx="759576" cy="592341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37">
                  <a:solidFill>
                    <a:sysClr val="windowText" lastClr="000000"/>
                  </a:solidFill>
                </a:rPr>
                <a:t>99</a:t>
              </a:r>
            </a:p>
            <a:p>
              <a:pPr algn="ctr"/>
              <a:r>
                <a:rPr lang="en-GB" sz="637">
                  <a:solidFill>
                    <a:sysClr val="windowText" lastClr="000000"/>
                  </a:solidFill>
                </a:rPr>
                <a:t>235</a:t>
              </a:r>
            </a:p>
            <a:p>
              <a:pPr algn="ctr"/>
              <a:r>
                <a:rPr lang="en-GB" sz="637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14443132-A6B3-4990-BA37-9E2D3DE1B105}"/>
                </a:ext>
              </a:extLst>
            </p:cNvPr>
            <p:cNvSpPr/>
            <p:nvPr userDrawn="1"/>
          </p:nvSpPr>
          <p:spPr>
            <a:xfrm>
              <a:off x="7882343" y="5227726"/>
              <a:ext cx="759576" cy="592341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37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6C79AFB4-7A51-4309-99F1-4015E9137C5F}"/>
                </a:ext>
              </a:extLst>
            </p:cNvPr>
            <p:cNvSpPr/>
            <p:nvPr userDrawn="1"/>
          </p:nvSpPr>
          <p:spPr>
            <a:xfrm>
              <a:off x="11640737" y="6015678"/>
              <a:ext cx="759576" cy="592341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37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CE4F02C0-8A76-4F89-8E59-9E7549909C2A}"/>
                </a:ext>
              </a:extLst>
            </p:cNvPr>
            <p:cNvSpPr/>
            <p:nvPr userDrawn="1"/>
          </p:nvSpPr>
          <p:spPr>
            <a:xfrm>
              <a:off x="12580336" y="5227726"/>
              <a:ext cx="759576" cy="592341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37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29198175-1C72-4E67-BB92-6595EEDA420A}"/>
                </a:ext>
              </a:extLst>
            </p:cNvPr>
            <p:cNvSpPr/>
            <p:nvPr userDrawn="1"/>
          </p:nvSpPr>
          <p:spPr>
            <a:xfrm>
              <a:off x="10701139" y="6015678"/>
              <a:ext cx="759576" cy="592341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37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BB592D94-A7C3-4005-BCCE-3C53AAD95748}"/>
                </a:ext>
              </a:extLst>
            </p:cNvPr>
            <p:cNvSpPr/>
            <p:nvPr userDrawn="1"/>
          </p:nvSpPr>
          <p:spPr>
            <a:xfrm>
              <a:off x="7882343" y="6015678"/>
              <a:ext cx="759576" cy="592341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637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637">
                  <a:solidFill>
                    <a:schemeClr val="bg1"/>
                  </a:solidFill>
                </a:rPr>
                <a:t>1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3225203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3 COLUMN CHART TEXT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water, sky, outdoor, boat&#10;&#10;Description automatically generated">
            <a:extLst>
              <a:ext uri="{FF2B5EF4-FFF2-40B4-BE49-F238E27FC236}">
                <a16:creationId xmlns:a16="http://schemas.microsoft.com/office/drawing/2014/main" id="{984BEAEF-0602-4E86-A4A3-9F2906ED28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DA3593A-B431-4ADA-BE4C-21EA84735646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63000">
                <a:srgbClr val="E8DCE0">
                  <a:alpha val="0"/>
                </a:srgbClr>
              </a:gs>
              <a:gs pos="7000">
                <a:srgbClr val="E8DCE0">
                  <a:alpha val="7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445" tIns="43445" rIns="43445" bIns="43445" rtlCol="0" anchor="ctr"/>
          <a:lstStyle/>
          <a:p>
            <a:pPr algn="l"/>
            <a:endParaRPr lang="en-GB" sz="1194">
              <a:solidFill>
                <a:schemeClr val="bg1"/>
              </a:solidFill>
            </a:endParaRPr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0C6C1EC6-E117-4B69-89BE-088A74E79D72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8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796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796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0637FD2-012C-4200-949F-8DC0167587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8"/>
            <a:ext cx="4623066" cy="146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275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477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B4073E-9A76-4497-A20D-140FBF74D8F4}"/>
              </a:ext>
            </a:extLst>
          </p:cNvPr>
          <p:cNvCxnSpPr/>
          <p:nvPr userDrawn="1"/>
        </p:nvCxnSpPr>
        <p:spPr>
          <a:xfrm>
            <a:off x="10928548" y="6266998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reeform 19">
            <a:extLst>
              <a:ext uri="{FF2B5EF4-FFF2-40B4-BE49-F238E27FC236}">
                <a16:creationId xmlns:a16="http://schemas.microsoft.com/office/drawing/2014/main" id="{C8D1917E-28DB-45B4-83F8-1DD72D0F71F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2907" y="6264658"/>
            <a:ext cx="582868" cy="19923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</p:spTree>
    <p:extLst>
      <p:ext uri="{BB962C8B-B14F-4D97-AF65-F5344CB8AC3E}">
        <p14:creationId xmlns:p14="http://schemas.microsoft.com/office/powerpoint/2010/main" val="283910579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840BCF3-D817-4EAC-8866-C2530BBB02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3202" y="2325832"/>
            <a:ext cx="6263956" cy="2300407"/>
          </a:xfrm>
        </p:spPr>
        <p:txBody>
          <a:bodyPr anchor="t" anchorCtr="0"/>
          <a:lstStyle>
            <a:lvl1pPr algn="l">
              <a:defRPr sz="7002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copy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CE8DB4-A186-4059-9C81-D90597F800A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3202" y="5233260"/>
            <a:ext cx="6263956" cy="216000"/>
          </a:xfrm>
        </p:spPr>
        <p:txBody>
          <a:bodyPr/>
          <a:lstStyle>
            <a:lvl1pPr>
              <a:defRPr sz="1273" b="0">
                <a:solidFill>
                  <a:schemeClr val="bg1"/>
                </a:solidFill>
              </a:defRPr>
            </a:lvl1pPr>
            <a:lvl2pPr>
              <a:defRPr sz="875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875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875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87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0CEBDA0-4368-4F6C-8352-18BF87F8F0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201" y="1339850"/>
            <a:ext cx="876300" cy="690562"/>
          </a:xfrm>
        </p:spPr>
        <p:txBody>
          <a:bodyPr/>
          <a:lstStyle>
            <a:lvl1pPr>
              <a:lnSpc>
                <a:spcPct val="70000"/>
              </a:lnSpc>
              <a:defRPr sz="4296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19" name="Shape 8">
            <a:extLst>
              <a:ext uri="{FF2B5EF4-FFF2-40B4-BE49-F238E27FC236}">
                <a16:creationId xmlns:a16="http://schemas.microsoft.com/office/drawing/2014/main" id="{313A4DB5-DC12-470A-9F09-93D424F33379}"/>
              </a:ext>
            </a:extLst>
          </p:cNvPr>
          <p:cNvSpPr txBox="1">
            <a:spLocks/>
          </p:cNvSpPr>
          <p:nvPr userDrawn="1"/>
        </p:nvSpPr>
        <p:spPr>
          <a:xfrm>
            <a:off x="10946608" y="6266998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796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796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Freeform 19">
            <a:extLst>
              <a:ext uri="{FF2B5EF4-FFF2-40B4-BE49-F238E27FC236}">
                <a16:creationId xmlns:a16="http://schemas.microsoft.com/office/drawing/2014/main" id="{F82F9FA7-2AF7-4FA2-9590-98321817BC2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2907" y="6264658"/>
            <a:ext cx="582868" cy="19923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</p:spTree>
    <p:extLst>
      <p:ext uri="{BB962C8B-B14F-4D97-AF65-F5344CB8AC3E}">
        <p14:creationId xmlns:p14="http://schemas.microsoft.com/office/powerpoint/2010/main" val="13875183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6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86.xml"/><Relationship Id="rId39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81.xml"/><Relationship Id="rId34" Type="http://schemas.openxmlformats.org/officeDocument/2006/relationships/slideLayout" Target="../slideLayouts/slideLayout94.xml"/><Relationship Id="rId42" Type="http://schemas.openxmlformats.org/officeDocument/2006/relationships/slideLayout" Target="../slideLayouts/slideLayout102.xml"/><Relationship Id="rId47" Type="http://schemas.openxmlformats.org/officeDocument/2006/relationships/slideLayout" Target="../slideLayouts/slideLayout107.xml"/><Relationship Id="rId50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9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32" Type="http://schemas.openxmlformats.org/officeDocument/2006/relationships/slideLayout" Target="../slideLayouts/slideLayout92.xml"/><Relationship Id="rId37" Type="http://schemas.openxmlformats.org/officeDocument/2006/relationships/slideLayout" Target="../slideLayouts/slideLayout97.xml"/><Relationship Id="rId40" Type="http://schemas.openxmlformats.org/officeDocument/2006/relationships/slideLayout" Target="../slideLayouts/slideLayout100.xml"/><Relationship Id="rId45" Type="http://schemas.openxmlformats.org/officeDocument/2006/relationships/slideLayout" Target="../slideLayouts/slideLayout105.xml"/><Relationship Id="rId53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31" Type="http://schemas.openxmlformats.org/officeDocument/2006/relationships/slideLayout" Target="../slideLayouts/slideLayout91.xml"/><Relationship Id="rId44" Type="http://schemas.openxmlformats.org/officeDocument/2006/relationships/slideLayout" Target="../slideLayouts/slideLayout104.xml"/><Relationship Id="rId52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slideLayout" Target="../slideLayouts/slideLayout90.xml"/><Relationship Id="rId35" Type="http://schemas.openxmlformats.org/officeDocument/2006/relationships/slideLayout" Target="../slideLayouts/slideLayout95.xml"/><Relationship Id="rId43" Type="http://schemas.openxmlformats.org/officeDocument/2006/relationships/slideLayout" Target="../slideLayouts/slideLayout103.xml"/><Relationship Id="rId48" Type="http://schemas.openxmlformats.org/officeDocument/2006/relationships/slideLayout" Target="../slideLayouts/slideLayout108.xml"/><Relationship Id="rId8" Type="http://schemas.openxmlformats.org/officeDocument/2006/relationships/slideLayout" Target="../slideLayouts/slideLayout68.xml"/><Relationship Id="rId51" Type="http://schemas.openxmlformats.org/officeDocument/2006/relationships/slideLayout" Target="../slideLayouts/slideLayout111.xml"/><Relationship Id="rId3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33" Type="http://schemas.openxmlformats.org/officeDocument/2006/relationships/slideLayout" Target="../slideLayouts/slideLayout93.xml"/><Relationship Id="rId38" Type="http://schemas.openxmlformats.org/officeDocument/2006/relationships/slideLayout" Target="../slideLayouts/slideLayout98.xml"/><Relationship Id="rId46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80.xml"/><Relationship Id="rId41" Type="http://schemas.openxmlformats.org/officeDocument/2006/relationships/slideLayout" Target="../slideLayouts/slideLayout101.xml"/><Relationship Id="rId54" Type="http://schemas.openxmlformats.org/officeDocument/2006/relationships/theme" Target="../theme/theme3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36" Type="http://schemas.openxmlformats.org/officeDocument/2006/relationships/slideLayout" Target="../slideLayouts/slideLayout96.xml"/><Relationship Id="rId49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8400" y="431800"/>
            <a:ext cx="1019520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3201" y="1330126"/>
            <a:ext cx="10194470" cy="45467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6" name="Freeform 1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TextBox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7"/>
            <a:ext cx="39664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024B3B3-3138-44BB-8DDD-6BDCEF24DEDC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1449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28" r:id="rId2"/>
    <p:sldLayoutId id="2147483749" r:id="rId3"/>
    <p:sldLayoutId id="2147483750" r:id="rId4"/>
    <p:sldLayoutId id="2147483767" r:id="rId5"/>
    <p:sldLayoutId id="2147483768" r:id="rId6"/>
    <p:sldLayoutId id="2147483765" r:id="rId7"/>
    <p:sldLayoutId id="2147483766" r:id="rId8"/>
    <p:sldLayoutId id="2147483666" r:id="rId9"/>
    <p:sldLayoutId id="2147483794" r:id="rId10"/>
    <p:sldLayoutId id="2147483712" r:id="rId11"/>
    <p:sldLayoutId id="2147483664" r:id="rId12"/>
    <p:sldLayoutId id="2147483769" r:id="rId13"/>
    <p:sldLayoutId id="2147483770" r:id="rId14"/>
    <p:sldLayoutId id="2147483714" r:id="rId15"/>
    <p:sldLayoutId id="2147483689" r:id="rId16"/>
    <p:sldLayoutId id="2147483716" r:id="rId17"/>
    <p:sldLayoutId id="2147483690" r:id="rId18"/>
    <p:sldLayoutId id="2147483692" r:id="rId19"/>
    <p:sldLayoutId id="2147483691" r:id="rId20"/>
    <p:sldLayoutId id="2147483693" r:id="rId21"/>
    <p:sldLayoutId id="2147483810" r:id="rId22"/>
    <p:sldLayoutId id="2147483701" r:id="rId23"/>
    <p:sldLayoutId id="2147483771" r:id="rId24"/>
    <p:sldLayoutId id="2147483752" r:id="rId25"/>
    <p:sldLayoutId id="2147483697" r:id="rId26"/>
    <p:sldLayoutId id="2147483772" r:id="rId27"/>
    <p:sldLayoutId id="2147483754" r:id="rId28"/>
    <p:sldLayoutId id="2147483699" r:id="rId29"/>
    <p:sldLayoutId id="2147483700" r:id="rId30"/>
    <p:sldLayoutId id="2147483722" r:id="rId31"/>
    <p:sldLayoutId id="2147483682" r:id="rId32"/>
    <p:sldLayoutId id="2147483745" r:id="rId33"/>
    <p:sldLayoutId id="2147483746" r:id="rId34"/>
    <p:sldLayoutId id="2147483667" r:id="rId35"/>
    <p:sldLayoutId id="2147483748" r:id="rId36"/>
    <p:sldLayoutId id="2147483773" r:id="rId37"/>
    <p:sldLayoutId id="2147483814" r:id="rId38"/>
    <p:sldLayoutId id="2147483793" r:id="rId39"/>
    <p:sldLayoutId id="2147483791" r:id="rId40"/>
    <p:sldLayoutId id="2147483790" r:id="rId41"/>
    <p:sldLayoutId id="2147483792" r:id="rId42"/>
    <p:sldLayoutId id="2147483796" r:id="rId43"/>
    <p:sldLayoutId id="2147483811" r:id="rId44"/>
    <p:sldLayoutId id="2147483812" r:id="rId45"/>
    <p:sldLayoutId id="2147483813" r:id="rId46"/>
    <p:sldLayoutId id="2147483780" r:id="rId47"/>
    <p:sldLayoutId id="2147483781" r:id="rId48"/>
    <p:sldLayoutId id="2147483806" r:id="rId49"/>
    <p:sldLayoutId id="2147483807" r:id="rId50"/>
    <p:sldLayoutId id="2147483808" r:id="rId51"/>
    <p:sldLayoutId id="2147483782" r:id="rId52"/>
    <p:sldLayoutId id="2147483784" r:id="rId53"/>
    <p:sldLayoutId id="2147483799" r:id="rId54"/>
    <p:sldLayoutId id="2147483798" r:id="rId55"/>
    <p:sldLayoutId id="2147483800" r:id="rId56"/>
    <p:sldLayoutId id="2147483786" r:id="rId57"/>
    <p:sldLayoutId id="2147483797" r:id="rId58"/>
    <p:sldLayoutId id="2147483788" r:id="rId59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4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5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-"/>
        <a:defRPr sz="15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500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719138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0747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1257300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627" userDrawn="1">
          <p15:clr>
            <a:srgbClr val="F26B43"/>
          </p15:clr>
        </p15:guide>
        <p15:guide id="3" pos="7055" userDrawn="1">
          <p15:clr>
            <a:srgbClr val="F26B43"/>
          </p15:clr>
        </p15:guide>
        <p15:guide id="4" orient="horz" pos="838" userDrawn="1">
          <p15:clr>
            <a:srgbClr val="F26B43"/>
          </p15:clr>
        </p15:guide>
        <p15:guide id="5" orient="horz" pos="612" userDrawn="1">
          <p15:clr>
            <a:srgbClr val="F26B43"/>
          </p15:clr>
        </p15:guide>
        <p15:guide id="6" orient="horz" pos="272" userDrawn="1">
          <p15:clr>
            <a:srgbClr val="F26B43"/>
          </p15:clr>
        </p15:guide>
        <p15:guide id="7" orient="horz" pos="370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5364" y="431801"/>
            <a:ext cx="1020445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5363" y="1330327"/>
            <a:ext cx="10200683" cy="4546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0946609" y="6266999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796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796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8967793" y="6295537"/>
            <a:ext cx="1866200" cy="73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7275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77" b="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024B3B3-3138-44BB-8DDD-6BDCEF24DEDC}"/>
              </a:ext>
            </a:extLst>
          </p:cNvPr>
          <p:cNvCxnSpPr/>
          <p:nvPr userDrawn="1"/>
        </p:nvCxnSpPr>
        <p:spPr>
          <a:xfrm>
            <a:off x="10928548" y="6266999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reeform 19">
            <a:extLst>
              <a:ext uri="{FF2B5EF4-FFF2-40B4-BE49-F238E27FC236}">
                <a16:creationId xmlns:a16="http://schemas.microsoft.com/office/drawing/2014/main" id="{6216573A-D1CB-4CEB-B57B-57FE4F9AFB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87479" y="6251369"/>
            <a:ext cx="551944" cy="178618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82951" tIns="41475" rIns="82951" bIns="41475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33"/>
          </a:p>
        </p:txBody>
      </p:sp>
      <p:sp>
        <p:nvSpPr>
          <p:cNvPr id="12" name="TextBox 12">
            <a:extLst>
              <a:ext uri="{FF2B5EF4-FFF2-40B4-BE49-F238E27FC236}">
                <a16:creationId xmlns:a16="http://schemas.microsoft.com/office/drawing/2014/main" id="{2C2F6552-1E88-4C18-85AD-CBD59D7D40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940586" y="6271518"/>
            <a:ext cx="5271737" cy="1674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295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544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88698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</p:sldLayoutIdLst>
  <p:txStyles>
    <p:titleStyle>
      <a:lvl1pPr algn="l" defTabSz="727510" rtl="0" eaLnBrk="1" latinLnBrk="0" hangingPunct="1">
        <a:lnSpc>
          <a:spcPct val="70000"/>
        </a:lnSpc>
        <a:spcBef>
          <a:spcPct val="0"/>
        </a:spcBef>
        <a:buNone/>
        <a:defRPr sz="350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727510" rtl="0" eaLnBrk="1" latinLnBrk="0" hangingPunct="1">
        <a:lnSpc>
          <a:spcPct val="100000"/>
        </a:lnSpc>
        <a:spcBef>
          <a:spcPts val="0"/>
        </a:spcBef>
        <a:spcAft>
          <a:spcPts val="477"/>
        </a:spcAft>
        <a:buFontTx/>
        <a:buNone/>
        <a:defRPr sz="1273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727510" rtl="0" eaLnBrk="1" latinLnBrk="0" hangingPunct="1">
        <a:lnSpc>
          <a:spcPct val="100000"/>
        </a:lnSpc>
        <a:spcBef>
          <a:spcPts val="0"/>
        </a:spcBef>
        <a:spcAft>
          <a:spcPts val="477"/>
        </a:spcAft>
        <a:buFontTx/>
        <a:buNone/>
        <a:defRPr sz="1273" kern="1200">
          <a:solidFill>
            <a:schemeClr val="accent2"/>
          </a:solidFill>
          <a:latin typeface="+mn-lt"/>
          <a:ea typeface="+mn-ea"/>
          <a:cs typeface="+mn-cs"/>
        </a:defRPr>
      </a:lvl2pPr>
      <a:lvl3pPr marL="143986" indent="-143986" algn="l" defTabSz="727510" rtl="0" eaLnBrk="1" latinLnBrk="0" hangingPunct="1">
        <a:lnSpc>
          <a:spcPct val="100000"/>
        </a:lnSpc>
        <a:spcBef>
          <a:spcPts val="0"/>
        </a:spcBef>
        <a:spcAft>
          <a:spcPts val="477"/>
        </a:spcAft>
        <a:buClrTx/>
        <a:buFont typeface="Arial" panose="020B0604020202020204" pitchFamily="34" charset="0"/>
        <a:buChar char="•"/>
        <a:defRPr sz="1273" kern="1200">
          <a:solidFill>
            <a:schemeClr val="accent2"/>
          </a:solidFill>
          <a:latin typeface="+mn-lt"/>
          <a:ea typeface="+mn-ea"/>
          <a:cs typeface="+mn-cs"/>
        </a:defRPr>
      </a:lvl3pPr>
      <a:lvl4pPr marL="287972" indent="-143986" algn="l" defTabSz="727510" rtl="0" eaLnBrk="1" latinLnBrk="0" hangingPunct="1">
        <a:lnSpc>
          <a:spcPct val="100000"/>
        </a:lnSpc>
        <a:spcBef>
          <a:spcPts val="0"/>
        </a:spcBef>
        <a:spcAft>
          <a:spcPts val="477"/>
        </a:spcAft>
        <a:buClrTx/>
        <a:buFont typeface="Arial" panose="020B0604020202020204" pitchFamily="34" charset="0"/>
        <a:buChar char="-"/>
        <a:defRPr sz="1273" kern="1200">
          <a:solidFill>
            <a:schemeClr val="accent2"/>
          </a:solidFill>
          <a:latin typeface="+mn-lt"/>
          <a:ea typeface="+mn-ea"/>
          <a:cs typeface="+mn-cs"/>
        </a:defRPr>
      </a:lvl4pPr>
      <a:lvl5pPr marL="431959" indent="-143986" algn="l" defTabSz="727510" rtl="0" eaLnBrk="1" latinLnBrk="0" hangingPunct="1">
        <a:lnSpc>
          <a:spcPct val="100000"/>
        </a:lnSpc>
        <a:spcBef>
          <a:spcPts val="0"/>
        </a:spcBef>
        <a:spcAft>
          <a:spcPts val="477"/>
        </a:spcAft>
        <a:buClrTx/>
        <a:buFont typeface="Arial" panose="020B0604020202020204" pitchFamily="34" charset="0"/>
        <a:buChar char="•"/>
        <a:defRPr sz="1273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572157" indent="-143986" algn="l" defTabSz="727510" rtl="0" eaLnBrk="1" latinLnBrk="0" hangingPunct="1">
        <a:lnSpc>
          <a:spcPct val="100000"/>
        </a:lnSpc>
        <a:spcBef>
          <a:spcPts val="0"/>
        </a:spcBef>
        <a:spcAft>
          <a:spcPts val="477"/>
        </a:spcAft>
        <a:buClr>
          <a:schemeClr val="tx2"/>
        </a:buClr>
        <a:buFont typeface="Arial" panose="020B0604020202020204" pitchFamily="34" charset="0"/>
        <a:buChar char="-"/>
        <a:defRPr sz="1194" kern="1200">
          <a:solidFill>
            <a:schemeClr val="tx2"/>
          </a:solidFill>
          <a:latin typeface="+mn-lt"/>
          <a:ea typeface="+mn-ea"/>
          <a:cs typeface="+mn-cs"/>
        </a:defRPr>
      </a:lvl6pPr>
      <a:lvl7pPr marL="713617" indent="-141461" algn="l" defTabSz="727510" rtl="0" eaLnBrk="1" latinLnBrk="0" hangingPunct="1">
        <a:lnSpc>
          <a:spcPct val="100000"/>
        </a:lnSpc>
        <a:spcBef>
          <a:spcPts val="0"/>
        </a:spcBef>
        <a:spcAft>
          <a:spcPts val="477"/>
        </a:spcAft>
        <a:buClr>
          <a:schemeClr val="tx2"/>
        </a:buClr>
        <a:buFont typeface="Arial" panose="020B0604020202020204" pitchFamily="34" charset="0"/>
        <a:buChar char="•"/>
        <a:defRPr sz="1194" kern="1200">
          <a:solidFill>
            <a:schemeClr val="tx2"/>
          </a:solidFill>
          <a:latin typeface="+mn-lt"/>
          <a:ea typeface="+mn-ea"/>
          <a:cs typeface="+mn-cs"/>
        </a:defRPr>
      </a:lvl7pPr>
      <a:lvl8pPr marL="855077" indent="-141461" algn="l" defTabSz="727510" rtl="0" eaLnBrk="1" latinLnBrk="0" hangingPunct="1">
        <a:lnSpc>
          <a:spcPct val="100000"/>
        </a:lnSpc>
        <a:spcBef>
          <a:spcPts val="0"/>
        </a:spcBef>
        <a:spcAft>
          <a:spcPts val="477"/>
        </a:spcAft>
        <a:buClr>
          <a:schemeClr val="tx2"/>
        </a:buClr>
        <a:buFont typeface="Arial" panose="020B0604020202020204" pitchFamily="34" charset="0"/>
        <a:buChar char="-"/>
        <a:defRPr sz="1194" kern="1200">
          <a:solidFill>
            <a:schemeClr val="tx2"/>
          </a:solidFill>
          <a:latin typeface="+mn-lt"/>
          <a:ea typeface="+mn-ea"/>
          <a:cs typeface="+mn-cs"/>
        </a:defRPr>
      </a:lvl8pPr>
      <a:lvl9pPr marL="1000326" indent="-145250" algn="l" defTabSz="727510" rtl="0" eaLnBrk="1" latinLnBrk="0" hangingPunct="1">
        <a:lnSpc>
          <a:spcPct val="90000"/>
        </a:lnSpc>
        <a:spcBef>
          <a:spcPts val="398"/>
        </a:spcBef>
        <a:buFont typeface="Arial" panose="020B0604020202020204" pitchFamily="34" charset="0"/>
        <a:buChar char="•"/>
        <a:defRPr sz="1194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27510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1pPr>
      <a:lvl2pPr marL="363755" algn="l" defTabSz="727510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2pPr>
      <a:lvl3pPr marL="727510" algn="l" defTabSz="727510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3pPr>
      <a:lvl4pPr marL="1091265" algn="l" defTabSz="727510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4pPr>
      <a:lvl5pPr marL="1455020" algn="l" defTabSz="727510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5pPr>
      <a:lvl6pPr marL="1818775" algn="l" defTabSz="727510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6pPr>
      <a:lvl7pPr marL="2182529" algn="l" defTabSz="727510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7pPr>
      <a:lvl8pPr marL="2546285" algn="l" defTabSz="727510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8pPr>
      <a:lvl9pPr marL="2910039" algn="l" defTabSz="727510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1">
          <p15:clr>
            <a:srgbClr val="F26B43"/>
          </p15:clr>
        </p15:guide>
        <p15:guide id="2" pos="691">
          <p15:clr>
            <a:srgbClr val="F26B43"/>
          </p15:clr>
        </p15:guide>
        <p15:guide id="3" pos="7777">
          <p15:clr>
            <a:srgbClr val="F26B43"/>
          </p15:clr>
        </p15:guide>
        <p15:guide id="4" orient="horz" pos="924">
          <p15:clr>
            <a:srgbClr val="F26B43"/>
          </p15:clr>
        </p15:guide>
        <p15:guide id="5" orient="horz" pos="675">
          <p15:clr>
            <a:srgbClr val="F26B43"/>
          </p15:clr>
        </p15:guide>
        <p15:guide id="6" orient="horz" pos="30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8401" y="431800"/>
            <a:ext cx="1019520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3201" y="1330126"/>
            <a:ext cx="10194470" cy="45467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0972894" y="6266998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796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GB" sz="796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6" name="Freeform 1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85678" y="6266997"/>
            <a:ext cx="600278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72746" tIns="36373" rIns="72746" bIns="36373" numCol="1" anchor="t" anchorCtr="0" compatLnSpc="1">
            <a:prstTxWarp prst="textNoShape">
              <a:avLst/>
            </a:prstTxWarp>
          </a:bodyPr>
          <a:lstStyle/>
          <a:p>
            <a:endParaRPr lang="en-GB" sz="1432"/>
          </a:p>
        </p:txBody>
      </p:sp>
      <p:sp>
        <p:nvSpPr>
          <p:cNvPr id="8" name="TextBox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885685" y="6266998"/>
            <a:ext cx="3966474" cy="1468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7275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477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22 KPMG, an Irish partnership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024B3B3-3138-44BB-8DDD-6BDCEF24DEDC}"/>
              </a:ext>
            </a:extLst>
          </p:cNvPr>
          <p:cNvCxnSpPr/>
          <p:nvPr userDrawn="1"/>
        </p:nvCxnSpPr>
        <p:spPr>
          <a:xfrm>
            <a:off x="10954835" y="6266998"/>
            <a:ext cx="0" cy="149412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1125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3" r:id="rId16"/>
    <p:sldLayoutId id="2147483834" r:id="rId17"/>
    <p:sldLayoutId id="2147483835" r:id="rId18"/>
    <p:sldLayoutId id="2147483836" r:id="rId19"/>
    <p:sldLayoutId id="2147483837" r:id="rId20"/>
    <p:sldLayoutId id="2147483838" r:id="rId21"/>
    <p:sldLayoutId id="2147483839" r:id="rId22"/>
    <p:sldLayoutId id="2147483840" r:id="rId23"/>
    <p:sldLayoutId id="2147483841" r:id="rId24"/>
    <p:sldLayoutId id="2147483842" r:id="rId25"/>
    <p:sldLayoutId id="2147483843" r:id="rId26"/>
    <p:sldLayoutId id="2147483844" r:id="rId27"/>
    <p:sldLayoutId id="2147483845" r:id="rId28"/>
    <p:sldLayoutId id="2147483846" r:id="rId29"/>
    <p:sldLayoutId id="2147483847" r:id="rId30"/>
    <p:sldLayoutId id="2147483848" r:id="rId31"/>
    <p:sldLayoutId id="2147483849" r:id="rId32"/>
    <p:sldLayoutId id="2147483850" r:id="rId33"/>
    <p:sldLayoutId id="2147483851" r:id="rId34"/>
    <p:sldLayoutId id="2147483852" r:id="rId35"/>
    <p:sldLayoutId id="2147483853" r:id="rId36"/>
    <p:sldLayoutId id="2147483854" r:id="rId37"/>
    <p:sldLayoutId id="2147483855" r:id="rId38"/>
    <p:sldLayoutId id="2147483856" r:id="rId39"/>
    <p:sldLayoutId id="2147483857" r:id="rId40"/>
    <p:sldLayoutId id="2147483858" r:id="rId41"/>
    <p:sldLayoutId id="2147483859" r:id="rId42"/>
    <p:sldLayoutId id="2147483860" r:id="rId43"/>
    <p:sldLayoutId id="2147483861" r:id="rId44"/>
    <p:sldLayoutId id="2147483862" r:id="rId45"/>
    <p:sldLayoutId id="2147483863" r:id="rId46"/>
    <p:sldLayoutId id="2147483864" r:id="rId47"/>
    <p:sldLayoutId id="2147483865" r:id="rId48"/>
    <p:sldLayoutId id="2147483866" r:id="rId49"/>
    <p:sldLayoutId id="2147483867" r:id="rId50"/>
    <p:sldLayoutId id="2147483868" r:id="rId51"/>
    <p:sldLayoutId id="2147483869" r:id="rId52"/>
    <p:sldLayoutId id="2147483877" r:id="rId53"/>
  </p:sldLayoutIdLst>
  <p:txStyles>
    <p:titleStyle>
      <a:lvl1pPr algn="l" defTabSz="727510" rtl="0" eaLnBrk="1" latinLnBrk="0" hangingPunct="1">
        <a:lnSpc>
          <a:spcPct val="70000"/>
        </a:lnSpc>
        <a:spcBef>
          <a:spcPct val="0"/>
        </a:spcBef>
        <a:buNone/>
        <a:defRPr sz="350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727510" rtl="0" eaLnBrk="1" latinLnBrk="0" hangingPunct="1">
        <a:lnSpc>
          <a:spcPct val="100000"/>
        </a:lnSpc>
        <a:spcBef>
          <a:spcPts val="0"/>
        </a:spcBef>
        <a:spcAft>
          <a:spcPts val="477"/>
        </a:spcAft>
        <a:buFontTx/>
        <a:buNone/>
        <a:defRPr sz="1194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727510" rtl="0" eaLnBrk="1" latinLnBrk="0" hangingPunct="1">
        <a:lnSpc>
          <a:spcPct val="100000"/>
        </a:lnSpc>
        <a:spcBef>
          <a:spcPts val="0"/>
        </a:spcBef>
        <a:spcAft>
          <a:spcPts val="477"/>
        </a:spcAft>
        <a:buFontTx/>
        <a:buNone/>
        <a:defRPr sz="1194" kern="1200">
          <a:solidFill>
            <a:schemeClr val="accent2"/>
          </a:solidFill>
          <a:latin typeface="+mn-lt"/>
          <a:ea typeface="+mn-ea"/>
          <a:cs typeface="+mn-cs"/>
        </a:defRPr>
      </a:lvl2pPr>
      <a:lvl3pPr marL="143986" indent="-143986" algn="l" defTabSz="727510" rtl="0" eaLnBrk="1" latinLnBrk="0" hangingPunct="1">
        <a:lnSpc>
          <a:spcPct val="100000"/>
        </a:lnSpc>
        <a:spcBef>
          <a:spcPts val="0"/>
        </a:spcBef>
        <a:spcAft>
          <a:spcPts val="477"/>
        </a:spcAft>
        <a:buClrTx/>
        <a:buFont typeface="Arial" panose="020B0604020202020204" pitchFamily="34" charset="0"/>
        <a:buChar char="•"/>
        <a:defRPr sz="1194" kern="1200">
          <a:solidFill>
            <a:schemeClr val="accent2"/>
          </a:solidFill>
          <a:latin typeface="+mn-lt"/>
          <a:ea typeface="+mn-ea"/>
          <a:cs typeface="+mn-cs"/>
        </a:defRPr>
      </a:lvl3pPr>
      <a:lvl4pPr marL="287972" indent="-143986" algn="l" defTabSz="727510" rtl="0" eaLnBrk="1" latinLnBrk="0" hangingPunct="1">
        <a:lnSpc>
          <a:spcPct val="100000"/>
        </a:lnSpc>
        <a:spcBef>
          <a:spcPts val="0"/>
        </a:spcBef>
        <a:spcAft>
          <a:spcPts val="477"/>
        </a:spcAft>
        <a:buClrTx/>
        <a:buFont typeface="Arial" panose="020B0604020202020204" pitchFamily="34" charset="0"/>
        <a:buChar char="-"/>
        <a:defRPr sz="1194" kern="1200">
          <a:solidFill>
            <a:schemeClr val="accent2"/>
          </a:solidFill>
          <a:latin typeface="+mn-lt"/>
          <a:ea typeface="+mn-ea"/>
          <a:cs typeface="+mn-cs"/>
        </a:defRPr>
      </a:lvl4pPr>
      <a:lvl5pPr marL="431959" indent="-143986" algn="l" defTabSz="727510" rtl="0" eaLnBrk="1" latinLnBrk="0" hangingPunct="1">
        <a:lnSpc>
          <a:spcPct val="100000"/>
        </a:lnSpc>
        <a:spcBef>
          <a:spcPts val="0"/>
        </a:spcBef>
        <a:spcAft>
          <a:spcPts val="477"/>
        </a:spcAft>
        <a:buClrTx/>
        <a:buFont typeface="Arial" panose="020B0604020202020204" pitchFamily="34" charset="0"/>
        <a:buChar char="•"/>
        <a:defRPr sz="1194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572157" indent="-143986" algn="l" defTabSz="727510" rtl="0" eaLnBrk="1" latinLnBrk="0" hangingPunct="1">
        <a:lnSpc>
          <a:spcPct val="100000"/>
        </a:lnSpc>
        <a:spcBef>
          <a:spcPts val="0"/>
        </a:spcBef>
        <a:spcAft>
          <a:spcPts val="477"/>
        </a:spcAft>
        <a:buClr>
          <a:schemeClr val="tx2"/>
        </a:buClr>
        <a:buFont typeface="Arial" panose="020B0604020202020204" pitchFamily="34" charset="0"/>
        <a:buChar char="-"/>
        <a:defRPr sz="1194" kern="1200">
          <a:solidFill>
            <a:schemeClr val="tx2"/>
          </a:solidFill>
          <a:latin typeface="+mn-lt"/>
          <a:ea typeface="+mn-ea"/>
          <a:cs typeface="+mn-cs"/>
        </a:defRPr>
      </a:lvl6pPr>
      <a:lvl7pPr marL="713617" indent="-141461" algn="l" defTabSz="727510" rtl="0" eaLnBrk="1" latinLnBrk="0" hangingPunct="1">
        <a:lnSpc>
          <a:spcPct val="100000"/>
        </a:lnSpc>
        <a:spcBef>
          <a:spcPts val="0"/>
        </a:spcBef>
        <a:spcAft>
          <a:spcPts val="477"/>
        </a:spcAft>
        <a:buClr>
          <a:schemeClr val="tx2"/>
        </a:buClr>
        <a:buFont typeface="Arial" panose="020B0604020202020204" pitchFamily="34" charset="0"/>
        <a:buChar char="•"/>
        <a:defRPr sz="1194" kern="1200">
          <a:solidFill>
            <a:schemeClr val="tx2"/>
          </a:solidFill>
          <a:latin typeface="+mn-lt"/>
          <a:ea typeface="+mn-ea"/>
          <a:cs typeface="+mn-cs"/>
        </a:defRPr>
      </a:lvl7pPr>
      <a:lvl8pPr marL="855077" indent="-141461" algn="l" defTabSz="727510" rtl="0" eaLnBrk="1" latinLnBrk="0" hangingPunct="1">
        <a:lnSpc>
          <a:spcPct val="100000"/>
        </a:lnSpc>
        <a:spcBef>
          <a:spcPts val="0"/>
        </a:spcBef>
        <a:spcAft>
          <a:spcPts val="477"/>
        </a:spcAft>
        <a:buClr>
          <a:schemeClr val="tx2"/>
        </a:buClr>
        <a:buFont typeface="Arial" panose="020B0604020202020204" pitchFamily="34" charset="0"/>
        <a:buChar char="-"/>
        <a:defRPr sz="1194" kern="1200">
          <a:solidFill>
            <a:schemeClr val="tx2"/>
          </a:solidFill>
          <a:latin typeface="+mn-lt"/>
          <a:ea typeface="+mn-ea"/>
          <a:cs typeface="+mn-cs"/>
        </a:defRPr>
      </a:lvl8pPr>
      <a:lvl9pPr marL="1000326" indent="-145250" algn="l" defTabSz="727510" rtl="0" eaLnBrk="1" latinLnBrk="0" hangingPunct="1">
        <a:lnSpc>
          <a:spcPct val="90000"/>
        </a:lnSpc>
        <a:spcBef>
          <a:spcPts val="398"/>
        </a:spcBef>
        <a:buFont typeface="Arial" panose="020B0604020202020204" pitchFamily="34" charset="0"/>
        <a:buChar char="•"/>
        <a:defRPr sz="1194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27510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1pPr>
      <a:lvl2pPr marL="363755" algn="l" defTabSz="727510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2pPr>
      <a:lvl3pPr marL="727510" algn="l" defTabSz="727510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3pPr>
      <a:lvl4pPr marL="1091265" algn="l" defTabSz="727510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4pPr>
      <a:lvl5pPr marL="1455020" algn="l" defTabSz="727510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5pPr>
      <a:lvl6pPr marL="1818775" algn="l" defTabSz="727510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6pPr>
      <a:lvl7pPr marL="2182529" algn="l" defTabSz="727510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7pPr>
      <a:lvl8pPr marL="2546285" algn="l" defTabSz="727510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8pPr>
      <a:lvl9pPr marL="2910039" algn="l" defTabSz="727510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550">
          <p15:clr>
            <a:srgbClr val="F26B43"/>
          </p15:clr>
        </p15:guide>
        <p15:guide id="3" pos="6187">
          <p15:clr>
            <a:srgbClr val="F26B43"/>
          </p15:clr>
        </p15:guide>
        <p15:guide id="4" orient="horz" pos="924">
          <p15:clr>
            <a:srgbClr val="F26B43"/>
          </p15:clr>
        </p15:guide>
        <p15:guide id="5" orient="horz" pos="675">
          <p15:clr>
            <a:srgbClr val="F26B43"/>
          </p15:clr>
        </p15:guide>
        <p15:guide id="6" orient="horz" pos="300">
          <p15:clr>
            <a:srgbClr val="F26B43"/>
          </p15:clr>
        </p15:guide>
        <p15:guide id="7" orient="horz" pos="40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9.xml"/><Relationship Id="rId5" Type="http://schemas.microsoft.com/office/2018/10/relationships/comments" Target="../comments/modernComment_7FFFD4BE_AC7088C8.xml"/><Relationship Id="rId4" Type="http://schemas.openxmlformats.org/officeDocument/2006/relationships/image" Target="../media/image4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6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8.png"/><Relationship Id="rId12" Type="http://schemas.openxmlformats.org/officeDocument/2006/relationships/image" Target="../media/image53.png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chart" Target="../charts/chart10.xml"/><Relationship Id="rId11" Type="http://schemas.openxmlformats.org/officeDocument/2006/relationships/image" Target="../media/image52.png"/><Relationship Id="rId5" Type="http://schemas.openxmlformats.org/officeDocument/2006/relationships/image" Target="../media/image47.emf"/><Relationship Id="rId10" Type="http://schemas.openxmlformats.org/officeDocument/2006/relationships/image" Target="../media/image51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50.png"/><Relationship Id="rId14" Type="http://schemas.openxmlformats.org/officeDocument/2006/relationships/image" Target="../media/image55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3.png"/><Relationship Id="rId18" Type="http://schemas.openxmlformats.org/officeDocument/2006/relationships/image" Target="../media/image68.png"/><Relationship Id="rId26" Type="http://schemas.openxmlformats.org/officeDocument/2006/relationships/image" Target="../media/image76.png"/><Relationship Id="rId3" Type="http://schemas.openxmlformats.org/officeDocument/2006/relationships/slideLayout" Target="../slideLayouts/slideLayout9.xml"/><Relationship Id="rId21" Type="http://schemas.openxmlformats.org/officeDocument/2006/relationships/image" Target="../media/image71.png"/><Relationship Id="rId7" Type="http://schemas.openxmlformats.org/officeDocument/2006/relationships/image" Target="../media/image57.png"/><Relationship Id="rId12" Type="http://schemas.openxmlformats.org/officeDocument/2006/relationships/image" Target="../media/image62.jpeg"/><Relationship Id="rId17" Type="http://schemas.openxmlformats.org/officeDocument/2006/relationships/image" Target="../media/image67.png"/><Relationship Id="rId25" Type="http://schemas.openxmlformats.org/officeDocument/2006/relationships/image" Target="../media/image75.png"/><Relationship Id="rId2" Type="http://schemas.openxmlformats.org/officeDocument/2006/relationships/tags" Target="../tags/tag7.xml"/><Relationship Id="rId16" Type="http://schemas.openxmlformats.org/officeDocument/2006/relationships/image" Target="../media/image66.png"/><Relationship Id="rId20" Type="http://schemas.openxmlformats.org/officeDocument/2006/relationships/image" Target="../media/image70.png"/><Relationship Id="rId29" Type="http://schemas.openxmlformats.org/officeDocument/2006/relationships/image" Target="../media/image79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56.png"/><Relationship Id="rId11" Type="http://schemas.openxmlformats.org/officeDocument/2006/relationships/image" Target="../media/image61.png"/><Relationship Id="rId24" Type="http://schemas.openxmlformats.org/officeDocument/2006/relationships/image" Target="../media/image74.png"/><Relationship Id="rId5" Type="http://schemas.openxmlformats.org/officeDocument/2006/relationships/image" Target="../media/image47.emf"/><Relationship Id="rId15" Type="http://schemas.openxmlformats.org/officeDocument/2006/relationships/image" Target="../media/image65.png"/><Relationship Id="rId23" Type="http://schemas.openxmlformats.org/officeDocument/2006/relationships/image" Target="../media/image73.png"/><Relationship Id="rId28" Type="http://schemas.openxmlformats.org/officeDocument/2006/relationships/image" Target="../media/image78.png"/><Relationship Id="rId10" Type="http://schemas.openxmlformats.org/officeDocument/2006/relationships/image" Target="../media/image60.png"/><Relationship Id="rId19" Type="http://schemas.openxmlformats.org/officeDocument/2006/relationships/image" Target="../media/image69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9.png"/><Relationship Id="rId14" Type="http://schemas.openxmlformats.org/officeDocument/2006/relationships/image" Target="../media/image64.png"/><Relationship Id="rId22" Type="http://schemas.openxmlformats.org/officeDocument/2006/relationships/image" Target="../media/image72.png"/><Relationship Id="rId27" Type="http://schemas.openxmlformats.org/officeDocument/2006/relationships/image" Target="../media/image7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1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microsoft.com/office/2018/10/relationships/comments" Target="../comments/modernComment_7FFFD4BA_CE2BA69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microsoft.com/office/2007/relationships/hdphoto" Target="../media/hdphoto1.wdp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17" Type="http://schemas.openxmlformats.org/officeDocument/2006/relationships/image" Target="../media/image40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9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5" Type="http://schemas.openxmlformats.org/officeDocument/2006/relationships/image" Target="../media/image38.jpe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Relationship Id="rId1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9B4FE-37D0-4D72-B8D7-B95B4B1927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74841" y="1764699"/>
            <a:ext cx="5949824" cy="28800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GB" sz="6000" b="1" dirty="0"/>
              <a:t>Funding AD Biomethane Development</a:t>
            </a:r>
            <a:endParaRPr lang="en-IE" sz="6000" b="1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28112C-EC53-4AE6-9707-3A171C22E8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IE"/>
              <a:t>Russell Smyth</a:t>
            </a:r>
          </a:p>
          <a:p>
            <a:r>
              <a:rPr lang="en-IE"/>
              <a:t>November 2022</a:t>
            </a:r>
          </a:p>
        </p:txBody>
      </p:sp>
    </p:spTree>
    <p:extLst>
      <p:ext uri="{BB962C8B-B14F-4D97-AF65-F5344CB8AC3E}">
        <p14:creationId xmlns:p14="http://schemas.microsoft.com/office/powerpoint/2010/main" val="8776650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49B47-D2D9-4C54-82D8-585AB5559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Why the time is right for Biomethane in Ireland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20340C92-C663-4D09-BD69-12B460934A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038383"/>
              </p:ext>
            </p:extLst>
          </p:nvPr>
        </p:nvGraphicFramePr>
        <p:xfrm>
          <a:off x="998400" y="1052184"/>
          <a:ext cx="10463287" cy="5377375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5128080">
                  <a:extLst>
                    <a:ext uri="{9D8B030D-6E8A-4147-A177-3AD203B41FA5}">
                      <a16:colId xmlns:a16="http://schemas.microsoft.com/office/drawing/2014/main" val="757457511"/>
                    </a:ext>
                  </a:extLst>
                </a:gridCol>
                <a:gridCol w="5335207">
                  <a:extLst>
                    <a:ext uri="{9D8B030D-6E8A-4147-A177-3AD203B41FA5}">
                      <a16:colId xmlns:a16="http://schemas.microsoft.com/office/drawing/2014/main" val="197051380"/>
                    </a:ext>
                  </a:extLst>
                </a:gridCol>
              </a:tblGrid>
              <a:tr h="324584">
                <a:tc>
                  <a:txBody>
                    <a:bodyPr/>
                    <a:lstStyle/>
                    <a:p>
                      <a:r>
                        <a:rPr lang="en-IE" sz="1400" b="1">
                          <a:solidFill>
                            <a:schemeClr val="tx2"/>
                          </a:solidFill>
                        </a:rPr>
                        <a:t>Historic Challe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E" sz="1400" b="1">
                          <a:solidFill>
                            <a:schemeClr val="tx2"/>
                          </a:solidFill>
                        </a:rPr>
                        <a:t>What’s Changed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1811174"/>
                  </a:ext>
                </a:extLst>
              </a:tr>
              <a:tr h="617016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Economics - focus has historically prioritised the decarbonisation of electricity due to lower abatement cost, decarbonising heat received less attention and support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he need to reduce emissions from all sectors - biomethane is the lowest cost option to decarbonise many high temperature heat applications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7062092"/>
                  </a:ext>
                </a:extLst>
              </a:tr>
              <a:tr h="6636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Historically advocacy primarily from AD technology sector or developers – not a compelling option to Governmen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Industry is now demanding a supply of biomethane fuel in order to achieve their decarbonisation target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9742275"/>
                  </a:ext>
                </a:extLst>
              </a:tr>
              <a:tr h="651278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tx1"/>
                          </a:solidFill>
                        </a:rPr>
                        <a:t>Limited regulatory pressure / Government appetit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tx1"/>
                          </a:solidFill>
                        </a:rPr>
                        <a:t>EU has set aggressive targets for both decarbonisation of heat and the production of biomethane</a:t>
                      </a:r>
                    </a:p>
                    <a:p>
                      <a:r>
                        <a:rPr lang="en-IE" sz="1400">
                          <a:solidFill>
                            <a:schemeClr val="tx1"/>
                          </a:solidFill>
                        </a:rPr>
                        <a:t>Security of supply concerns has increased interes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7928092"/>
                  </a:ext>
                </a:extLst>
              </a:tr>
              <a:tr h="764958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Cautious government approach due to nervousness of impacting agri-sector dynamic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Studies have shown that Ireland has additional, untapped feedstock capacity which can assist farm-level decarbonisation and also reduce nitrogen based fertiliser usag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3714283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Government unwilling to lock into long-term subsidies to incentivise investments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he proposed Renewable Heat Obligation (RHO) scheme will provide long term support while placing no burden on Government fund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30313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Developing an new energy sector, with the risk of unintended, negative consequences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here are now over 10,000 AD plants operating across Europe, with 80 operating in NI alone.   Can work if done righ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1500312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A challenging sector to secure fund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Significant increase in capital chasing this sector – AD now considered a mainstream technolog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1246552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145490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5CBFFD-F01A-44CC-804E-7903C2B922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Biomethane production has been growing steadily in Europe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F2B3E401-0F67-43E9-9504-D085F5A7B5E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8599008"/>
              </p:ext>
            </p:extLst>
          </p:nvPr>
        </p:nvGraphicFramePr>
        <p:xfrm>
          <a:off x="998400" y="1231900"/>
          <a:ext cx="10098500" cy="4902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E728D1AA-18B6-43D8-B076-D6421CF92247}"/>
              </a:ext>
            </a:extLst>
          </p:cNvPr>
          <p:cNvSpPr txBox="1"/>
          <p:nvPr/>
        </p:nvSpPr>
        <p:spPr>
          <a:xfrm>
            <a:off x="2121408" y="5977933"/>
            <a:ext cx="6373368" cy="31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IE" sz="1000" b="1">
                <a:solidFill>
                  <a:schemeClr val="tx2"/>
                </a:solidFill>
              </a:rPr>
              <a:t>Source: European Biogas Association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2559EC-B5BE-4247-9712-DD56B3341D95}"/>
              </a:ext>
            </a:extLst>
          </p:cNvPr>
          <p:cNvSpPr/>
          <p:nvPr/>
        </p:nvSpPr>
        <p:spPr>
          <a:xfrm>
            <a:off x="9324975" y="4788976"/>
            <a:ext cx="547269" cy="750014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IE" sz="1500" err="1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52336D-11BF-408C-80AE-F834F4B1144E}"/>
              </a:ext>
            </a:extLst>
          </p:cNvPr>
          <p:cNvSpPr txBox="1"/>
          <p:nvPr/>
        </p:nvSpPr>
        <p:spPr>
          <a:xfrm>
            <a:off x="10357160" y="4880224"/>
            <a:ext cx="1479479" cy="94522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IE" sz="1600" b="1">
                <a:solidFill>
                  <a:srgbClr val="FF0000"/>
                </a:solidFill>
              </a:rPr>
              <a:t>GB produced</a:t>
            </a:r>
          </a:p>
          <a:p>
            <a:pPr algn="l">
              <a:spcAft>
                <a:spcPts val="600"/>
              </a:spcAft>
            </a:pPr>
            <a:r>
              <a:rPr lang="en-IE" sz="1600" b="1">
                <a:solidFill>
                  <a:srgbClr val="FF0000"/>
                </a:solidFill>
              </a:rPr>
              <a:t> 7 TWh in 2020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1158FA8-5DA7-4D0A-BD6A-B24F248C7FD6}"/>
              </a:ext>
            </a:extLst>
          </p:cNvPr>
          <p:cNvCxnSpPr>
            <a:cxnSpLocks/>
            <a:stCxn id="3" idx="3"/>
          </p:cNvCxnSpPr>
          <p:nvPr/>
        </p:nvCxnSpPr>
        <p:spPr>
          <a:xfrm>
            <a:off x="9872244" y="5163983"/>
            <a:ext cx="308225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99366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F2B3E401-0F67-43E9-9504-D085F5A7B5E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37856595"/>
              </p:ext>
            </p:extLst>
          </p:nvPr>
        </p:nvGraphicFramePr>
        <p:xfrm>
          <a:off x="998400" y="1231900"/>
          <a:ext cx="10098000" cy="490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55CBFFD-F01A-44CC-804E-7903C2B922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err="1"/>
              <a:t>RePowerEU</a:t>
            </a:r>
            <a:r>
              <a:rPr lang="en-IE"/>
              <a:t> set ambitious targets for biomethane produc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607773-8DE3-4000-BDCB-5FE0EA8C40E1}"/>
              </a:ext>
            </a:extLst>
          </p:cNvPr>
          <p:cNvSpPr txBox="1"/>
          <p:nvPr/>
        </p:nvSpPr>
        <p:spPr>
          <a:xfrm>
            <a:off x="2121408" y="5977933"/>
            <a:ext cx="6373368" cy="31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IE" sz="1000" b="1">
                <a:solidFill>
                  <a:schemeClr val="tx2"/>
                </a:solidFill>
              </a:rPr>
              <a:t>Source: RePowerEU</a:t>
            </a:r>
          </a:p>
        </p:txBody>
      </p:sp>
    </p:spTree>
    <p:extLst>
      <p:ext uri="{BB962C8B-B14F-4D97-AF65-F5344CB8AC3E}">
        <p14:creationId xmlns:p14="http://schemas.microsoft.com/office/powerpoint/2010/main" val="5417991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49B47-D2D9-4C54-82D8-585AB5559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Why the time is right for Biomethane in Ireland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20340C92-C663-4D09-BD69-12B460934A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1698841"/>
              </p:ext>
            </p:extLst>
          </p:nvPr>
        </p:nvGraphicFramePr>
        <p:xfrm>
          <a:off x="998400" y="1052184"/>
          <a:ext cx="10463287" cy="5377375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5128080">
                  <a:extLst>
                    <a:ext uri="{9D8B030D-6E8A-4147-A177-3AD203B41FA5}">
                      <a16:colId xmlns:a16="http://schemas.microsoft.com/office/drawing/2014/main" val="757457511"/>
                    </a:ext>
                  </a:extLst>
                </a:gridCol>
                <a:gridCol w="5335207">
                  <a:extLst>
                    <a:ext uri="{9D8B030D-6E8A-4147-A177-3AD203B41FA5}">
                      <a16:colId xmlns:a16="http://schemas.microsoft.com/office/drawing/2014/main" val="197051380"/>
                    </a:ext>
                  </a:extLst>
                </a:gridCol>
              </a:tblGrid>
              <a:tr h="324584">
                <a:tc>
                  <a:txBody>
                    <a:bodyPr/>
                    <a:lstStyle/>
                    <a:p>
                      <a:r>
                        <a:rPr lang="en-IE" sz="1400" b="1">
                          <a:solidFill>
                            <a:schemeClr val="tx2"/>
                          </a:solidFill>
                        </a:rPr>
                        <a:t>Historic Challe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E" sz="1400" b="1">
                          <a:solidFill>
                            <a:schemeClr val="tx2"/>
                          </a:solidFill>
                        </a:rPr>
                        <a:t>What’s Changed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1811174"/>
                  </a:ext>
                </a:extLst>
              </a:tr>
              <a:tr h="617016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Economics - focus has historically prioritised the decarbonisation of electricity due to lower abatement cost, decarbonising heat received less attention and support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he need to reduce emissions from all sectors - biomethane is the lowest cost option to decarbonise many high temperature heat applications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7062092"/>
                  </a:ext>
                </a:extLst>
              </a:tr>
              <a:tr h="6636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Historically advocacy primarily from AD technology sector or developers – not a compelling option to Governmen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Industry is now demanding a supply of biomethane fuel in order to achieve their decarbonisation target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9742275"/>
                  </a:ext>
                </a:extLst>
              </a:tr>
              <a:tr h="651278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Limited regulatory pressure / Government appetit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EU has set aggressive targets for both decarbonisation of heat and the production of biomethane</a:t>
                      </a:r>
                    </a:p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Security of supply concerns has increased interes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7928092"/>
                  </a:ext>
                </a:extLst>
              </a:tr>
              <a:tr h="764958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tx1"/>
                          </a:solidFill>
                        </a:rPr>
                        <a:t>Cautious government approach due to nervousness of impacting agri-sector dynamic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tx1"/>
                          </a:solidFill>
                        </a:rPr>
                        <a:t>Studies have shown that Ireland has additional, untapped feedstock capacity which can assist farm-level decarbonisation and also reduce nitrogen based fertiliser usag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3714283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Government unwilling to lock into long-term subsidies to incentivise investments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he proposed Renewable Heat Obligation (RHO) scheme will provide long term support while placing no burden on Government fund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30313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Developing an new energy sector, with the risk of unintended, negative consequences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here are now over 10,000 AD plants operating across Europe, with 80 operating in NI alone.   Can work if done righ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1500312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A challenging sector to secure fund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Significant increase in capital chasing this sector – AD now considered a mainstream technolog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1246552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48523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49B47-D2D9-4C54-82D8-585AB5559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Experience from Northern Ireland’s </a:t>
            </a:r>
            <a:r>
              <a:rPr lang="en-IE" err="1"/>
              <a:t>agri</a:t>
            </a:r>
            <a:r>
              <a:rPr lang="en-IE"/>
              <a:t>-secto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5A9A3F-C7B4-4796-9C5B-41AFF931E0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75657" y="1769229"/>
            <a:ext cx="5835769" cy="4107696"/>
          </a:xfrm>
          <a:prstGeom prst="rect">
            <a:avLst/>
          </a:prstGeom>
        </p:spPr>
      </p:pic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30C21ADD-D7AE-42CE-844F-5C45D06BD1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944257"/>
              </p:ext>
            </p:extLst>
          </p:nvPr>
        </p:nvGraphicFramePr>
        <p:xfrm>
          <a:off x="8084652" y="1889084"/>
          <a:ext cx="3108948" cy="1830022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144187">
                  <a:extLst>
                    <a:ext uri="{9D8B030D-6E8A-4147-A177-3AD203B41FA5}">
                      <a16:colId xmlns:a16="http://schemas.microsoft.com/office/drawing/2014/main" val="2078264106"/>
                    </a:ext>
                  </a:extLst>
                </a:gridCol>
                <a:gridCol w="751234">
                  <a:extLst>
                    <a:ext uri="{9D8B030D-6E8A-4147-A177-3AD203B41FA5}">
                      <a16:colId xmlns:a16="http://schemas.microsoft.com/office/drawing/2014/main" val="3683271548"/>
                    </a:ext>
                  </a:extLst>
                </a:gridCol>
                <a:gridCol w="1213527">
                  <a:extLst>
                    <a:ext uri="{9D8B030D-6E8A-4147-A177-3AD203B41FA5}">
                      <a16:colId xmlns:a16="http://schemas.microsoft.com/office/drawing/2014/main" val="531708019"/>
                    </a:ext>
                  </a:extLst>
                </a:gridCol>
              </a:tblGrid>
              <a:tr h="24278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E" sz="1050" b="1" kern="1200">
                          <a:solidFill>
                            <a:schemeClr val="tx1"/>
                          </a:solidFill>
                        </a:rPr>
                        <a:t> </a:t>
                      </a:r>
                      <a:endParaRPr lang="en-IE" sz="105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E" sz="1050" b="1" kern="1200">
                          <a:solidFill>
                            <a:schemeClr val="tx1"/>
                          </a:solidFill>
                        </a:rPr>
                        <a:t> </a:t>
                      </a:r>
                      <a:endParaRPr lang="en-IE" sz="105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E" sz="1050" b="1" kern="1200">
                          <a:solidFill>
                            <a:schemeClr val="tx1"/>
                          </a:solidFill>
                        </a:rPr>
                        <a:t>Total</a:t>
                      </a:r>
                      <a:endParaRPr lang="en-IE" sz="105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36037511"/>
                  </a:ext>
                </a:extLst>
              </a:tr>
              <a:tr h="284427">
                <a:tc>
                  <a:txBody>
                    <a:bodyPr/>
                    <a:lstStyle/>
                    <a:p>
                      <a:pPr marL="0" indent="92075" algn="l" rtl="0" fontAlgn="ctr"/>
                      <a:r>
                        <a:rPr lang="en-IE" sz="1050" b="1" u="none" strike="noStrike">
                          <a:effectLst/>
                        </a:rPr>
                        <a:t>Total grassland</a:t>
                      </a:r>
                      <a:endParaRPr lang="en-IE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E" sz="1050" u="none" strike="noStrike">
                          <a:effectLst/>
                        </a:rPr>
                        <a:t>Mha</a:t>
                      </a:r>
                      <a:endParaRPr lang="en-IE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E" sz="1050" u="none" strike="noStrike">
                          <a:effectLst/>
                        </a:rPr>
                        <a:t>4.5</a:t>
                      </a:r>
                      <a:endParaRPr lang="en-IE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57775393"/>
                  </a:ext>
                </a:extLst>
              </a:tr>
              <a:tr h="271154">
                <a:tc>
                  <a:txBody>
                    <a:bodyPr/>
                    <a:lstStyle/>
                    <a:p>
                      <a:pPr marL="87313" indent="4763" algn="l" rtl="0" fontAlgn="ctr"/>
                      <a:r>
                        <a:rPr lang="en-IE" sz="1050" b="1" u="none" strike="noStrike">
                          <a:solidFill>
                            <a:srgbClr val="000000"/>
                          </a:solidFill>
                          <a:effectLst/>
                        </a:rPr>
                        <a:t>Available grassland</a:t>
                      </a:r>
                      <a:endParaRPr lang="en-IE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E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Mha</a:t>
                      </a:r>
                      <a:endParaRPr lang="en-IE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E" sz="1050" b="0" u="none" strike="noStrike">
                          <a:solidFill>
                            <a:srgbClr val="000000"/>
                          </a:solidFill>
                          <a:effectLst/>
                        </a:rPr>
                        <a:t>1.1</a:t>
                      </a:r>
                      <a:endParaRPr lang="en-IE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36972662"/>
                  </a:ext>
                </a:extLst>
              </a:tr>
              <a:tr h="297556">
                <a:tc>
                  <a:txBody>
                    <a:bodyPr/>
                    <a:lstStyle/>
                    <a:p>
                      <a:pPr marL="177800" indent="-85725" algn="l" rtl="0" fontAlgn="ctr"/>
                      <a:r>
                        <a:rPr lang="en-IE" sz="1050" b="1" u="none" strike="noStrike">
                          <a:effectLst/>
                        </a:rPr>
                        <a:t>Suitable land</a:t>
                      </a:r>
                      <a:endParaRPr lang="en-IE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E" sz="1050" u="none" strike="noStrike">
                          <a:effectLst/>
                        </a:rPr>
                        <a:t>Kha</a:t>
                      </a:r>
                      <a:endParaRPr lang="en-IE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E" sz="1050" u="none" strike="noStrike">
                          <a:effectLst/>
                        </a:rPr>
                        <a:t>768</a:t>
                      </a:r>
                      <a:endParaRPr lang="en-IE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911928723"/>
                  </a:ext>
                </a:extLst>
              </a:tr>
              <a:tr h="339430">
                <a:tc>
                  <a:txBody>
                    <a:bodyPr/>
                    <a:lstStyle/>
                    <a:p>
                      <a:pPr marL="92075" indent="0" algn="l" rtl="0" fontAlgn="ctr"/>
                      <a:r>
                        <a:rPr lang="en-IE" sz="1050" b="1" u="none" strike="noStrike">
                          <a:effectLst/>
                        </a:rPr>
                        <a:t>Realisable production</a:t>
                      </a:r>
                      <a:endParaRPr lang="en-IE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E" sz="1050" u="none" strike="noStrike">
                          <a:effectLst/>
                        </a:rPr>
                        <a:t>Mt DM</a:t>
                      </a:r>
                      <a:endParaRPr lang="en-IE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E" sz="1050" u="none" strike="noStrike">
                          <a:effectLst/>
                        </a:rPr>
                        <a:t>3.1</a:t>
                      </a:r>
                      <a:endParaRPr lang="en-IE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622468122"/>
                  </a:ext>
                </a:extLst>
              </a:tr>
              <a:tr h="339430">
                <a:tc>
                  <a:txBody>
                    <a:bodyPr/>
                    <a:lstStyle/>
                    <a:p>
                      <a:pPr marL="92075" indent="0" algn="l" rtl="0" fontAlgn="ctr"/>
                      <a:r>
                        <a:rPr lang="en-IE" sz="1050" b="1" u="none" strike="noStrike">
                          <a:effectLst/>
                        </a:rPr>
                        <a:t>Realisable production</a:t>
                      </a:r>
                      <a:endParaRPr lang="en-IE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E" sz="1050" u="none" strike="noStrike">
                          <a:effectLst/>
                        </a:rPr>
                        <a:t>TWh</a:t>
                      </a:r>
                      <a:endParaRPr lang="en-IE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E" sz="1050" u="none" strike="noStrike">
                          <a:effectLst/>
                        </a:rPr>
                        <a:t>9.5</a:t>
                      </a:r>
                      <a:endParaRPr lang="en-IE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68691488"/>
                  </a:ext>
                </a:extLst>
              </a:tr>
            </a:tbl>
          </a:graphicData>
        </a:graphic>
      </p:graphicFrame>
      <p:sp>
        <p:nvSpPr>
          <p:cNvPr id="13" name="Oval 12">
            <a:extLst>
              <a:ext uri="{FF2B5EF4-FFF2-40B4-BE49-F238E27FC236}">
                <a16:creationId xmlns:a16="http://schemas.microsoft.com/office/drawing/2014/main" id="{65AE1012-A489-4D04-9B83-F76D3C14561C}"/>
              </a:ext>
            </a:extLst>
          </p:cNvPr>
          <p:cNvSpPr/>
          <p:nvPr/>
        </p:nvSpPr>
        <p:spPr>
          <a:xfrm>
            <a:off x="10398693" y="3385621"/>
            <a:ext cx="426701" cy="319363"/>
          </a:xfrm>
          <a:prstGeom prst="ellipse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IE" sz="1500" err="1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401744-E1FF-480F-B9EE-5133C442F3D8}"/>
              </a:ext>
            </a:extLst>
          </p:cNvPr>
          <p:cNvSpPr txBox="1"/>
          <p:nvPr/>
        </p:nvSpPr>
        <p:spPr>
          <a:xfrm>
            <a:off x="8084652" y="1566842"/>
            <a:ext cx="2503976" cy="2397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IE" sz="1200" b="1" err="1">
                <a:solidFill>
                  <a:schemeClr val="tx2"/>
                </a:solidFill>
              </a:rPr>
              <a:t>RoI</a:t>
            </a:r>
            <a:r>
              <a:rPr lang="en-IE" sz="1200" b="1">
                <a:solidFill>
                  <a:schemeClr val="tx2"/>
                </a:solidFill>
              </a:rPr>
              <a:t> Grassland Potential 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B40069AE-96A0-4B1A-B32E-2AC00E6F77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0747737"/>
              </p:ext>
            </p:extLst>
          </p:nvPr>
        </p:nvGraphicFramePr>
        <p:xfrm>
          <a:off x="8084652" y="5041859"/>
          <a:ext cx="3108948" cy="582219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144187">
                  <a:extLst>
                    <a:ext uri="{9D8B030D-6E8A-4147-A177-3AD203B41FA5}">
                      <a16:colId xmlns:a16="http://schemas.microsoft.com/office/drawing/2014/main" val="2078264106"/>
                    </a:ext>
                  </a:extLst>
                </a:gridCol>
                <a:gridCol w="751234">
                  <a:extLst>
                    <a:ext uri="{9D8B030D-6E8A-4147-A177-3AD203B41FA5}">
                      <a16:colId xmlns:a16="http://schemas.microsoft.com/office/drawing/2014/main" val="3683271548"/>
                    </a:ext>
                  </a:extLst>
                </a:gridCol>
                <a:gridCol w="1213527">
                  <a:extLst>
                    <a:ext uri="{9D8B030D-6E8A-4147-A177-3AD203B41FA5}">
                      <a16:colId xmlns:a16="http://schemas.microsoft.com/office/drawing/2014/main" val="531708019"/>
                    </a:ext>
                  </a:extLst>
                </a:gridCol>
              </a:tblGrid>
              <a:tr h="24278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E" sz="1050" b="1" kern="1200">
                          <a:solidFill>
                            <a:schemeClr val="tx1"/>
                          </a:solidFill>
                        </a:rPr>
                        <a:t> </a:t>
                      </a:r>
                      <a:endParaRPr lang="en-IE" sz="105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E" sz="1050" b="1" kern="1200">
                          <a:solidFill>
                            <a:schemeClr val="tx1"/>
                          </a:solidFill>
                        </a:rPr>
                        <a:t> </a:t>
                      </a:r>
                      <a:endParaRPr lang="en-IE" sz="105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IE" sz="1050" b="1" kern="1200">
                          <a:solidFill>
                            <a:schemeClr val="tx1"/>
                          </a:solidFill>
                        </a:rPr>
                        <a:t>Total</a:t>
                      </a:r>
                      <a:endParaRPr lang="en-IE" sz="105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36037511"/>
                  </a:ext>
                </a:extLst>
              </a:tr>
              <a:tr h="339430">
                <a:tc>
                  <a:txBody>
                    <a:bodyPr/>
                    <a:lstStyle/>
                    <a:p>
                      <a:pPr marL="92075" indent="0" algn="l" rtl="0" fontAlgn="ctr"/>
                      <a:r>
                        <a:rPr lang="en-IE" sz="1050" b="1" u="none" strike="noStrike">
                          <a:effectLst/>
                        </a:rPr>
                        <a:t>Realisable production</a:t>
                      </a:r>
                      <a:endParaRPr lang="en-IE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E" sz="1050" u="none" strike="noStrike">
                          <a:effectLst/>
                        </a:rPr>
                        <a:t>TWh</a:t>
                      </a:r>
                      <a:endParaRPr lang="en-IE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E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8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68691488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5D8F3583-80EE-41CE-8948-7A5BA5DA7213}"/>
              </a:ext>
            </a:extLst>
          </p:cNvPr>
          <p:cNvSpPr txBox="1"/>
          <p:nvPr/>
        </p:nvSpPr>
        <p:spPr>
          <a:xfrm>
            <a:off x="8084652" y="4719617"/>
            <a:ext cx="2503976" cy="2397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IE" sz="1200" b="1">
                <a:solidFill>
                  <a:schemeClr val="tx2"/>
                </a:solidFill>
              </a:rPr>
              <a:t>NI Grassland Potential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9BA03C-E152-42EA-AEEA-F31D4C869493}"/>
              </a:ext>
            </a:extLst>
          </p:cNvPr>
          <p:cNvSpPr txBox="1"/>
          <p:nvPr/>
        </p:nvSpPr>
        <p:spPr>
          <a:xfrm>
            <a:off x="8084652" y="3801638"/>
            <a:ext cx="2503976" cy="15060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IE" sz="1000" b="1" err="1">
                <a:solidFill>
                  <a:schemeClr val="tx2"/>
                </a:solidFill>
              </a:rPr>
              <a:t>Dowth</a:t>
            </a:r>
            <a:r>
              <a:rPr lang="en-IE" sz="1000" b="1">
                <a:solidFill>
                  <a:schemeClr val="tx2"/>
                </a:solidFill>
              </a:rPr>
              <a:t> Research Farm / KPMG Repor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B7CAFD2-44BB-4F6E-A708-F6261C3CCC50}"/>
              </a:ext>
            </a:extLst>
          </p:cNvPr>
          <p:cNvSpPr txBox="1"/>
          <p:nvPr/>
        </p:nvSpPr>
        <p:spPr>
          <a:xfrm>
            <a:off x="8084652" y="5697476"/>
            <a:ext cx="2038350" cy="8930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IE" sz="1000" b="1">
                <a:solidFill>
                  <a:schemeClr val="tx2"/>
                </a:solidFill>
              </a:rPr>
              <a:t>Queens / CASE Report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90ABE94-37D5-4C6F-BC1E-0FBA8436224A}"/>
              </a:ext>
            </a:extLst>
          </p:cNvPr>
          <p:cNvSpPr/>
          <p:nvPr/>
        </p:nvSpPr>
        <p:spPr>
          <a:xfrm>
            <a:off x="10375277" y="5304715"/>
            <a:ext cx="426701" cy="319363"/>
          </a:xfrm>
          <a:prstGeom prst="ellipse">
            <a:avLst/>
          </a:prstGeom>
          <a:noFill/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IE" sz="1500" err="1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A7A28FB-D532-4E6D-9A63-69D6FF3E488A}"/>
              </a:ext>
            </a:extLst>
          </p:cNvPr>
          <p:cNvSpPr txBox="1"/>
          <p:nvPr/>
        </p:nvSpPr>
        <p:spPr>
          <a:xfrm>
            <a:off x="1332401" y="1566842"/>
            <a:ext cx="3795623" cy="24466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IE" sz="1200" b="1">
                <a:solidFill>
                  <a:schemeClr val="tx2"/>
                </a:solidFill>
              </a:rPr>
              <a:t>Development of the NI AD sector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41F1803-4900-4B62-BAE3-5AB0D93E0E9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6716110" y="1071083"/>
            <a:ext cx="295316" cy="402455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F1B065A-4126-49D8-ADBA-12C6FE50C19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217"/>
          <a:stretch/>
        </p:blipFill>
        <p:spPr>
          <a:xfrm>
            <a:off x="748204" y="2245399"/>
            <a:ext cx="584197" cy="402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056200"/>
      </p:ext>
    </p:extLst>
  </p:cSld>
  <p:clrMapOvr>
    <a:masterClrMapping/>
  </p:clrMapOvr>
  <p:extLst>
    <p:ext uri="{6950BFC3-D8DA-4A85-94F7-54DA5524770B}">
      <p188:commentRel xmlns:p188="http://schemas.microsoft.com/office/powerpoint/2018/8/main" xmlns="" r:id="rId5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49B47-D2D9-4C54-82D8-585AB5559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Why the time is right for Biomethane in Ireland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20340C92-C663-4D09-BD69-12B460934A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1025064"/>
              </p:ext>
            </p:extLst>
          </p:nvPr>
        </p:nvGraphicFramePr>
        <p:xfrm>
          <a:off x="998400" y="1052184"/>
          <a:ext cx="10463287" cy="5377375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5128080">
                  <a:extLst>
                    <a:ext uri="{9D8B030D-6E8A-4147-A177-3AD203B41FA5}">
                      <a16:colId xmlns:a16="http://schemas.microsoft.com/office/drawing/2014/main" val="757457511"/>
                    </a:ext>
                  </a:extLst>
                </a:gridCol>
                <a:gridCol w="5335207">
                  <a:extLst>
                    <a:ext uri="{9D8B030D-6E8A-4147-A177-3AD203B41FA5}">
                      <a16:colId xmlns:a16="http://schemas.microsoft.com/office/drawing/2014/main" val="197051380"/>
                    </a:ext>
                  </a:extLst>
                </a:gridCol>
              </a:tblGrid>
              <a:tr h="324584">
                <a:tc>
                  <a:txBody>
                    <a:bodyPr/>
                    <a:lstStyle/>
                    <a:p>
                      <a:r>
                        <a:rPr lang="en-IE" sz="1400" b="1">
                          <a:solidFill>
                            <a:schemeClr val="tx2"/>
                          </a:solidFill>
                        </a:rPr>
                        <a:t>Historic Challe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E" sz="1400" b="1">
                          <a:solidFill>
                            <a:schemeClr val="tx2"/>
                          </a:solidFill>
                        </a:rPr>
                        <a:t>What’s Changed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1811174"/>
                  </a:ext>
                </a:extLst>
              </a:tr>
              <a:tr h="617016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Economics - focus has historically prioritised the decarbonisation of electricity due to lower abatement cost, decarbonising heat received less attention and support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he need to reduce emissions from all sectors - biomethane is the lowest cost option to decarbonise many high temperature heat applications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7062092"/>
                  </a:ext>
                </a:extLst>
              </a:tr>
              <a:tr h="6636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Historically advocacy primarily from AD technology sector or developers – not a compelling option to Governmen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Industry is now demanding a supply of biomethane fuel in order to achieve their decarbonisation target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9742275"/>
                  </a:ext>
                </a:extLst>
              </a:tr>
              <a:tr h="651278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Limited regulatory pressure / Government appetit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EU has set aggressive targets for both decarbonisation of heat and the production of biomethane</a:t>
                      </a:r>
                    </a:p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Security of supply concerns has increased interes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7928092"/>
                  </a:ext>
                </a:extLst>
              </a:tr>
              <a:tr h="764958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Cautious government approach due to nervousness of impacting </a:t>
                      </a:r>
                      <a:r>
                        <a:rPr lang="en-IE" sz="1400" err="1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agri</a:t>
                      </a:r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-sector dynamic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Studies have shown that Ireland has additional, untapped feedstock capacity which can assist farm-level decarbonisation and also reduce nitrogen based fertiliser usag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3714283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tx1"/>
                          </a:solidFill>
                        </a:rPr>
                        <a:t>Government unwilling to lock into long-term subsidies to incentivise investments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tx1"/>
                          </a:solidFill>
                        </a:rPr>
                        <a:t>The proposed Renewable Heat Obligation (RHO) scheme will provide long term support while placing no burden on Government fund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30313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Developing an new energy sector, with the risk of unintended, negative consequences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here are now over 10,000 AD plants operating across Europe, with 80 operating in NI alone.   Can work if done righ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1500312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A challenging sector to secure fund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Significant increase in capital chasing this sector – AD now considered a mainstream technolog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1246552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33980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AFB224A-55CC-4DF1-B587-07D48C945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Renewable Heat Obligation  (RHO) to be introduced by 2024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4269706-25D4-491A-85AD-9852C567191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38432" y="1640680"/>
            <a:ext cx="3655168" cy="15700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</p:spPr>
      </p:pic>
      <p:graphicFrame>
        <p:nvGraphicFramePr>
          <p:cNvPr id="6" name="Chart1">
            <a:extLst>
              <a:ext uri="{FF2B5EF4-FFF2-40B4-BE49-F238E27FC236}">
                <a16:creationId xmlns:a16="http://schemas.microsoft.com/office/drawing/2014/main" id="{B5673278-8A97-43DE-BC98-B2168E1CEFA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79596571"/>
              </p:ext>
            </p:extLst>
          </p:nvPr>
        </p:nvGraphicFramePr>
        <p:xfrm>
          <a:off x="799441" y="1334054"/>
          <a:ext cx="6384926" cy="4054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3A4E5BF-BD45-464B-807A-97D500E49012}"/>
              </a:ext>
            </a:extLst>
          </p:cNvPr>
          <p:cNvSpPr txBox="1"/>
          <p:nvPr/>
        </p:nvSpPr>
        <p:spPr>
          <a:xfrm>
            <a:off x="1563545" y="5395988"/>
            <a:ext cx="2038350" cy="8930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IE" sz="1000" b="1">
                <a:solidFill>
                  <a:schemeClr val="tx2"/>
                </a:solidFill>
              </a:rPr>
              <a:t>Source: DECC</a:t>
            </a:r>
          </a:p>
        </p:txBody>
      </p:sp>
    </p:spTree>
    <p:extLst>
      <p:ext uri="{BB962C8B-B14F-4D97-AF65-F5344CB8AC3E}">
        <p14:creationId xmlns:p14="http://schemas.microsoft.com/office/powerpoint/2010/main" val="8712410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49B47-D2D9-4C54-82D8-585AB5559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Why the time is right for Biomethane in Ireland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20340C92-C663-4D09-BD69-12B460934A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3822137"/>
              </p:ext>
            </p:extLst>
          </p:nvPr>
        </p:nvGraphicFramePr>
        <p:xfrm>
          <a:off x="998400" y="1052184"/>
          <a:ext cx="10463287" cy="5377375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5128080">
                  <a:extLst>
                    <a:ext uri="{9D8B030D-6E8A-4147-A177-3AD203B41FA5}">
                      <a16:colId xmlns:a16="http://schemas.microsoft.com/office/drawing/2014/main" val="757457511"/>
                    </a:ext>
                  </a:extLst>
                </a:gridCol>
                <a:gridCol w="5335207">
                  <a:extLst>
                    <a:ext uri="{9D8B030D-6E8A-4147-A177-3AD203B41FA5}">
                      <a16:colId xmlns:a16="http://schemas.microsoft.com/office/drawing/2014/main" val="197051380"/>
                    </a:ext>
                  </a:extLst>
                </a:gridCol>
              </a:tblGrid>
              <a:tr h="324584">
                <a:tc>
                  <a:txBody>
                    <a:bodyPr/>
                    <a:lstStyle/>
                    <a:p>
                      <a:r>
                        <a:rPr lang="en-IE" sz="1400" b="1">
                          <a:solidFill>
                            <a:schemeClr val="tx2"/>
                          </a:solidFill>
                        </a:rPr>
                        <a:t>Historic Challe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E" sz="1400" b="1">
                          <a:solidFill>
                            <a:schemeClr val="tx2"/>
                          </a:solidFill>
                        </a:rPr>
                        <a:t>What’s Changed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1811174"/>
                  </a:ext>
                </a:extLst>
              </a:tr>
              <a:tr h="617016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Economics - focus has historically prioritised the decarbonisation of electricity due to lower abatement cost, decarbonising heat received less attention and support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he need to reduce emissions from all sectors - biomethane is the lowest cost option to decarbonise many high temperature heat applications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7062092"/>
                  </a:ext>
                </a:extLst>
              </a:tr>
              <a:tr h="6636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Historically advocacy primarily from AD technology sector or developers – not a compelling option to Governmen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Industry is now demanding a supply of biomethane fuel in order to achieve their decarbonisation target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9742275"/>
                  </a:ext>
                </a:extLst>
              </a:tr>
              <a:tr h="651278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Limited regulatory pressure / Government appetit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EU has set aggressive targets for both decarbonisation of heat and the production of biomethane</a:t>
                      </a:r>
                    </a:p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Security of supply concerns has increased interes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7928092"/>
                  </a:ext>
                </a:extLst>
              </a:tr>
              <a:tr h="764958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Cautious government approach due to nervousness of impacting </a:t>
                      </a:r>
                      <a:r>
                        <a:rPr lang="en-IE" sz="1400" err="1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agri</a:t>
                      </a:r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-sector dynamic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Studies have shown that Ireland has additional, untapped feedstock capacity which can assist farm-level decarbonisation and also reduce nitrogen based fertiliser usag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3714283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Government unwilling to lock into long-term subsidies to incentivise investments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he proposed Renewable Heat Obligation (RHO) scheme will provide long term support while placing no burden on Government fund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30313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tx1"/>
                          </a:solidFill>
                        </a:rPr>
                        <a:t>Developing an new energy sector, with the risk of unintended, negative consequences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tx1"/>
                          </a:solidFill>
                        </a:rPr>
                        <a:t>There are now over 10,000 AD plants operating across Europe, with 80 operating in NI alone.   Can work if done righ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1500312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A challenging sector to secure fund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Significant increase in capital chasing this sector – AD now considered a mainstream technolog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1246552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09271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49B47-D2D9-4C54-82D8-585AB5559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80 Operational AD Plants in NI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EEECB6-4482-42A8-B070-79F8807866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9672" y="1053105"/>
            <a:ext cx="7367210" cy="463935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981B591-D84F-400A-8937-ED6C24287EC0}"/>
              </a:ext>
            </a:extLst>
          </p:cNvPr>
          <p:cNvSpPr txBox="1"/>
          <p:nvPr/>
        </p:nvSpPr>
        <p:spPr>
          <a:xfrm>
            <a:off x="2209762" y="5804895"/>
            <a:ext cx="7387120" cy="28824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IE" sz="1050" b="1">
                <a:solidFill>
                  <a:schemeClr val="tx2"/>
                </a:solidFill>
              </a:rPr>
              <a:t>Source: Anaerobic Digestion in Northern Ireland Briefing Paper </a:t>
            </a:r>
          </a:p>
        </p:txBody>
      </p:sp>
    </p:spTree>
    <p:extLst>
      <p:ext uri="{BB962C8B-B14F-4D97-AF65-F5344CB8AC3E}">
        <p14:creationId xmlns:p14="http://schemas.microsoft.com/office/powerpoint/2010/main" val="41736452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49B47-D2D9-4C54-82D8-585AB5559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Increasing Grass Production without Increasing Emission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73D4433-1DAD-4280-AD9D-3A7B1AF500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2296252"/>
              </p:ext>
            </p:extLst>
          </p:nvPr>
        </p:nvGraphicFramePr>
        <p:xfrm>
          <a:off x="1061080" y="4184577"/>
          <a:ext cx="10069840" cy="12808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19065">
                  <a:extLst>
                    <a:ext uri="{9D8B030D-6E8A-4147-A177-3AD203B41FA5}">
                      <a16:colId xmlns:a16="http://schemas.microsoft.com/office/drawing/2014/main" val="3004845825"/>
                    </a:ext>
                  </a:extLst>
                </a:gridCol>
                <a:gridCol w="1229182">
                  <a:extLst>
                    <a:ext uri="{9D8B030D-6E8A-4147-A177-3AD203B41FA5}">
                      <a16:colId xmlns:a16="http://schemas.microsoft.com/office/drawing/2014/main" val="2732032591"/>
                    </a:ext>
                  </a:extLst>
                </a:gridCol>
                <a:gridCol w="992801">
                  <a:extLst>
                    <a:ext uri="{9D8B030D-6E8A-4147-A177-3AD203B41FA5}">
                      <a16:colId xmlns:a16="http://schemas.microsoft.com/office/drawing/2014/main" val="648614159"/>
                    </a:ext>
                  </a:extLst>
                </a:gridCol>
                <a:gridCol w="992801">
                  <a:extLst>
                    <a:ext uri="{9D8B030D-6E8A-4147-A177-3AD203B41FA5}">
                      <a16:colId xmlns:a16="http://schemas.microsoft.com/office/drawing/2014/main" val="524218491"/>
                    </a:ext>
                  </a:extLst>
                </a:gridCol>
                <a:gridCol w="992801">
                  <a:extLst>
                    <a:ext uri="{9D8B030D-6E8A-4147-A177-3AD203B41FA5}">
                      <a16:colId xmlns:a16="http://schemas.microsoft.com/office/drawing/2014/main" val="3576720777"/>
                    </a:ext>
                  </a:extLst>
                </a:gridCol>
                <a:gridCol w="1071595">
                  <a:extLst>
                    <a:ext uri="{9D8B030D-6E8A-4147-A177-3AD203B41FA5}">
                      <a16:colId xmlns:a16="http://schemas.microsoft.com/office/drawing/2014/main" val="2918035996"/>
                    </a:ext>
                  </a:extLst>
                </a:gridCol>
                <a:gridCol w="1071595">
                  <a:extLst>
                    <a:ext uri="{9D8B030D-6E8A-4147-A177-3AD203B41FA5}">
                      <a16:colId xmlns:a16="http://schemas.microsoft.com/office/drawing/2014/main" val="2588364808"/>
                    </a:ext>
                  </a:extLst>
                </a:gridCol>
              </a:tblGrid>
              <a:tr h="635184">
                <a:tc>
                  <a:txBody>
                    <a:bodyPr/>
                    <a:lstStyle/>
                    <a:p>
                      <a:pPr marL="0" indent="88900" algn="l" fontAlgn="b"/>
                      <a:r>
                        <a:rPr lang="en-GB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For the whole farm</a:t>
                      </a:r>
                      <a:endParaRPr lang="en-GB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Baseline year </a:t>
                      </a:r>
                      <a:endParaRPr lang="en-GB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Year 1</a:t>
                      </a:r>
                      <a:endParaRPr lang="en-GB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Year 2</a:t>
                      </a:r>
                      <a:endParaRPr lang="en-GB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Year 3</a:t>
                      </a:r>
                      <a:endParaRPr lang="en-GB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Year 4</a:t>
                      </a:r>
                      <a:endParaRPr lang="en-GB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Year 5</a:t>
                      </a:r>
                      <a:endParaRPr lang="en-GB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045380"/>
                  </a:ext>
                </a:extLst>
              </a:tr>
              <a:tr h="322842">
                <a:tc>
                  <a:txBody>
                    <a:bodyPr/>
                    <a:lstStyle/>
                    <a:p>
                      <a:pPr marL="0" indent="88900" algn="l" fontAlgn="b"/>
                      <a:r>
                        <a:rPr lang="en-GB" sz="1400" u="none" strike="noStrike">
                          <a:effectLst/>
                        </a:rPr>
                        <a:t>Total Grass DM utilised</a:t>
                      </a:r>
                      <a:endParaRPr lang="en-GB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194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337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34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343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343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346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extLst>
                  <a:ext uri="{0D108BD9-81ED-4DB2-BD59-A6C34878D82A}">
                    <a16:rowId xmlns:a16="http://schemas.microsoft.com/office/drawing/2014/main" val="2353820474"/>
                  </a:ext>
                </a:extLst>
              </a:tr>
              <a:tr h="322842">
                <a:tc>
                  <a:txBody>
                    <a:bodyPr/>
                    <a:lstStyle/>
                    <a:p>
                      <a:pPr marL="0" indent="88900" algn="l" fontAlgn="b"/>
                      <a:r>
                        <a:rPr lang="en-GB" sz="1400" u="none" strike="noStrike">
                          <a:effectLst/>
                        </a:rPr>
                        <a:t>Carbon footprint tnsCO</a:t>
                      </a:r>
                      <a:r>
                        <a:rPr lang="en-GB" sz="1400" u="none" strike="noStrike" baseline="-25000">
                          <a:effectLst/>
                        </a:rPr>
                        <a:t>2</a:t>
                      </a:r>
                      <a:r>
                        <a:rPr lang="en-GB" sz="1400" u="none" strike="noStrike">
                          <a:effectLst/>
                        </a:rPr>
                        <a:t>e</a:t>
                      </a:r>
                      <a:endParaRPr lang="en-GB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51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17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8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18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9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12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extLst>
                  <a:ext uri="{0D108BD9-81ED-4DB2-BD59-A6C34878D82A}">
                    <a16:rowId xmlns:a16="http://schemas.microsoft.com/office/drawing/2014/main" val="2556249428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96E39701-D0D6-41F5-8746-EF1A05B71E15}"/>
              </a:ext>
            </a:extLst>
          </p:cNvPr>
          <p:cNvSpPr txBox="1"/>
          <p:nvPr/>
        </p:nvSpPr>
        <p:spPr>
          <a:xfrm>
            <a:off x="989970" y="3845743"/>
            <a:ext cx="2165131" cy="33883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1400" b="1">
                <a:solidFill>
                  <a:schemeClr val="tx2"/>
                </a:solidFill>
              </a:rPr>
              <a:t>Farm with no Cattle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32F6093-EB30-4E8C-9E87-A33D266F4C2E}"/>
              </a:ext>
            </a:extLst>
          </p:cNvPr>
          <p:cNvSpPr/>
          <p:nvPr/>
        </p:nvSpPr>
        <p:spPr>
          <a:xfrm>
            <a:off x="10320856" y="5203997"/>
            <a:ext cx="552261" cy="261448"/>
          </a:xfrm>
          <a:prstGeom prst="ellipse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IE" sz="1500" err="1">
              <a:solidFill>
                <a:schemeClr val="bg1"/>
              </a:solidFill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C04FD38-5047-469D-A85E-583480D8F4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6784489"/>
              </p:ext>
            </p:extLst>
          </p:nvPr>
        </p:nvGraphicFramePr>
        <p:xfrm>
          <a:off x="1061080" y="2252453"/>
          <a:ext cx="10069841" cy="107604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19065">
                  <a:extLst>
                    <a:ext uri="{9D8B030D-6E8A-4147-A177-3AD203B41FA5}">
                      <a16:colId xmlns:a16="http://schemas.microsoft.com/office/drawing/2014/main" val="1241854688"/>
                    </a:ext>
                  </a:extLst>
                </a:gridCol>
                <a:gridCol w="1229183">
                  <a:extLst>
                    <a:ext uri="{9D8B030D-6E8A-4147-A177-3AD203B41FA5}">
                      <a16:colId xmlns:a16="http://schemas.microsoft.com/office/drawing/2014/main" val="796395075"/>
                    </a:ext>
                  </a:extLst>
                </a:gridCol>
                <a:gridCol w="992801">
                  <a:extLst>
                    <a:ext uri="{9D8B030D-6E8A-4147-A177-3AD203B41FA5}">
                      <a16:colId xmlns:a16="http://schemas.microsoft.com/office/drawing/2014/main" val="1888118808"/>
                    </a:ext>
                  </a:extLst>
                </a:gridCol>
                <a:gridCol w="992801">
                  <a:extLst>
                    <a:ext uri="{9D8B030D-6E8A-4147-A177-3AD203B41FA5}">
                      <a16:colId xmlns:a16="http://schemas.microsoft.com/office/drawing/2014/main" val="3036543728"/>
                    </a:ext>
                  </a:extLst>
                </a:gridCol>
                <a:gridCol w="992801">
                  <a:extLst>
                    <a:ext uri="{9D8B030D-6E8A-4147-A177-3AD203B41FA5}">
                      <a16:colId xmlns:a16="http://schemas.microsoft.com/office/drawing/2014/main" val="3771265074"/>
                    </a:ext>
                  </a:extLst>
                </a:gridCol>
                <a:gridCol w="1071595">
                  <a:extLst>
                    <a:ext uri="{9D8B030D-6E8A-4147-A177-3AD203B41FA5}">
                      <a16:colId xmlns:a16="http://schemas.microsoft.com/office/drawing/2014/main" val="1060651909"/>
                    </a:ext>
                  </a:extLst>
                </a:gridCol>
                <a:gridCol w="1071595">
                  <a:extLst>
                    <a:ext uri="{9D8B030D-6E8A-4147-A177-3AD203B41FA5}">
                      <a16:colId xmlns:a16="http://schemas.microsoft.com/office/drawing/2014/main" val="2762624475"/>
                    </a:ext>
                  </a:extLst>
                </a:gridCol>
              </a:tblGrid>
              <a:tr h="358682">
                <a:tc>
                  <a:txBody>
                    <a:bodyPr/>
                    <a:lstStyle/>
                    <a:p>
                      <a:pPr marL="0" indent="88900" algn="l" fontAlgn="b"/>
                      <a:r>
                        <a:rPr lang="en-GB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For the whole farm</a:t>
                      </a:r>
                      <a:endParaRPr lang="en-GB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Baseline year </a:t>
                      </a:r>
                      <a:endParaRPr lang="en-GB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Year 1</a:t>
                      </a:r>
                      <a:endParaRPr lang="en-GB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Year 2</a:t>
                      </a:r>
                      <a:endParaRPr lang="en-GB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Year 3</a:t>
                      </a:r>
                      <a:endParaRPr lang="en-GB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Year 4</a:t>
                      </a:r>
                      <a:endParaRPr lang="en-GB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Year 5</a:t>
                      </a:r>
                      <a:endParaRPr lang="en-GB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6768964"/>
                  </a:ext>
                </a:extLst>
              </a:tr>
              <a:tr h="358682">
                <a:tc>
                  <a:txBody>
                    <a:bodyPr/>
                    <a:lstStyle/>
                    <a:p>
                      <a:pPr marL="0" indent="88900" algn="l" fontAlgn="b"/>
                      <a:r>
                        <a:rPr lang="en-GB" sz="1400" u="none" strike="noStrike">
                          <a:effectLst/>
                        </a:rPr>
                        <a:t>Total Grass DM utilised</a:t>
                      </a:r>
                      <a:endParaRPr lang="en-GB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194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312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349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351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355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36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extLst>
                  <a:ext uri="{0D108BD9-81ED-4DB2-BD59-A6C34878D82A}">
                    <a16:rowId xmlns:a16="http://schemas.microsoft.com/office/drawing/2014/main" val="1058968810"/>
                  </a:ext>
                </a:extLst>
              </a:tr>
              <a:tr h="358682">
                <a:tc>
                  <a:txBody>
                    <a:bodyPr/>
                    <a:lstStyle/>
                    <a:p>
                      <a:pPr marL="0" indent="88900" algn="l" fontAlgn="b"/>
                      <a:r>
                        <a:rPr lang="en-GB" sz="1400" u="none" strike="noStrike">
                          <a:effectLst/>
                        </a:rPr>
                        <a:t>Carbon footprint tnsCO</a:t>
                      </a:r>
                      <a:r>
                        <a:rPr lang="en-GB" sz="1400" u="none" strike="noStrike" baseline="-25000">
                          <a:effectLst/>
                        </a:rPr>
                        <a:t>2</a:t>
                      </a:r>
                      <a:r>
                        <a:rPr lang="en-GB" sz="1400" u="none" strike="noStrike">
                          <a:effectLst/>
                        </a:rPr>
                        <a:t>e</a:t>
                      </a:r>
                      <a:endParaRPr lang="en-GB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122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98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112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100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111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u="none" strike="noStrike">
                          <a:effectLst/>
                        </a:rPr>
                        <a:t>111</a:t>
                      </a:r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73" marR="7173" marT="7173" marB="0" anchor="ctr"/>
                </a:tc>
                <a:extLst>
                  <a:ext uri="{0D108BD9-81ED-4DB2-BD59-A6C34878D82A}">
                    <a16:rowId xmlns:a16="http://schemas.microsoft.com/office/drawing/2014/main" val="110276979"/>
                  </a:ext>
                </a:extLst>
              </a:tr>
            </a:tbl>
          </a:graphicData>
        </a:graphic>
      </p:graphicFrame>
      <p:sp>
        <p:nvSpPr>
          <p:cNvPr id="13" name="Oval 12">
            <a:extLst>
              <a:ext uri="{FF2B5EF4-FFF2-40B4-BE49-F238E27FC236}">
                <a16:creationId xmlns:a16="http://schemas.microsoft.com/office/drawing/2014/main" id="{D2CD062E-8208-4143-AF30-D9045F10AA5F}"/>
              </a:ext>
            </a:extLst>
          </p:cNvPr>
          <p:cNvSpPr/>
          <p:nvPr/>
        </p:nvSpPr>
        <p:spPr>
          <a:xfrm>
            <a:off x="10320855" y="3024573"/>
            <a:ext cx="552261" cy="261448"/>
          </a:xfrm>
          <a:prstGeom prst="ellipse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IE" sz="1500" err="1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68E7A07-C865-4665-8C02-6450B20ABD24}"/>
              </a:ext>
            </a:extLst>
          </p:cNvPr>
          <p:cNvSpPr/>
          <p:nvPr/>
        </p:nvSpPr>
        <p:spPr>
          <a:xfrm>
            <a:off x="5132670" y="3024573"/>
            <a:ext cx="552261" cy="261448"/>
          </a:xfrm>
          <a:prstGeom prst="ellipse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IE" sz="1500" err="1">
              <a:solidFill>
                <a:schemeClr val="bg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497C5F7-C3A3-487E-8AC0-ED4BD5B93A9D}"/>
              </a:ext>
            </a:extLst>
          </p:cNvPr>
          <p:cNvSpPr/>
          <p:nvPr/>
        </p:nvSpPr>
        <p:spPr>
          <a:xfrm>
            <a:off x="5132669" y="5184947"/>
            <a:ext cx="552261" cy="261448"/>
          </a:xfrm>
          <a:prstGeom prst="ellipse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IE" sz="1500" err="1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3D28EAA-3DD1-4E29-BFF3-39CED6E1B635}"/>
              </a:ext>
            </a:extLst>
          </p:cNvPr>
          <p:cNvSpPr txBox="1"/>
          <p:nvPr/>
        </p:nvSpPr>
        <p:spPr>
          <a:xfrm>
            <a:off x="989970" y="1902396"/>
            <a:ext cx="2165131" cy="33883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GB" sz="1400" b="1">
                <a:solidFill>
                  <a:schemeClr val="tx2"/>
                </a:solidFill>
              </a:rPr>
              <a:t>Farm with Catt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7F437C7-DD98-451F-9984-1D34810AE6F4}"/>
              </a:ext>
            </a:extLst>
          </p:cNvPr>
          <p:cNvSpPr txBox="1"/>
          <p:nvPr/>
        </p:nvSpPr>
        <p:spPr>
          <a:xfrm>
            <a:off x="922008" y="1016985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E" sz="1800"/>
              <a:t>32 hectare farm with c.30 beef cattle</a:t>
            </a:r>
            <a:endParaRPr lang="en-IE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EDFCAF8-063C-495C-A366-E52CB59570EC}"/>
              </a:ext>
            </a:extLst>
          </p:cNvPr>
          <p:cNvSpPr txBox="1"/>
          <p:nvPr/>
        </p:nvSpPr>
        <p:spPr>
          <a:xfrm>
            <a:off x="1061080" y="5745017"/>
            <a:ext cx="3584811" cy="26785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IE" sz="1050" b="1" dirty="0">
                <a:solidFill>
                  <a:schemeClr val="tx2"/>
                </a:solidFill>
              </a:rPr>
              <a:t>Source: KPMG / Devenish Report 2022</a:t>
            </a:r>
          </a:p>
        </p:txBody>
      </p:sp>
    </p:spTree>
    <p:extLst>
      <p:ext uri="{BB962C8B-B14F-4D97-AF65-F5344CB8AC3E}">
        <p14:creationId xmlns:p14="http://schemas.microsoft.com/office/powerpoint/2010/main" val="9218484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49B47-D2D9-4C54-82D8-585AB5559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Making the case for biomethane in Irelan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5CC9DFF-0B6C-433E-9E09-36757CD25D4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7806" y="2331069"/>
            <a:ext cx="3565726" cy="264840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90C833-C8DA-431C-89B7-6C1C5EE83C5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400" y="1616131"/>
            <a:ext cx="2825379" cy="397890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33BA49F-A99B-4962-933E-9F0F198496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57559" y="1606968"/>
            <a:ext cx="2832648" cy="3988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3936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49B47-D2D9-4C54-82D8-585AB5559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Why the time is right for Biomethane in Ireland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20340C92-C663-4D09-BD69-12B460934A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7942211"/>
              </p:ext>
            </p:extLst>
          </p:nvPr>
        </p:nvGraphicFramePr>
        <p:xfrm>
          <a:off x="998400" y="1052184"/>
          <a:ext cx="10463287" cy="5377375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5128080">
                  <a:extLst>
                    <a:ext uri="{9D8B030D-6E8A-4147-A177-3AD203B41FA5}">
                      <a16:colId xmlns:a16="http://schemas.microsoft.com/office/drawing/2014/main" val="757457511"/>
                    </a:ext>
                  </a:extLst>
                </a:gridCol>
                <a:gridCol w="5335207">
                  <a:extLst>
                    <a:ext uri="{9D8B030D-6E8A-4147-A177-3AD203B41FA5}">
                      <a16:colId xmlns:a16="http://schemas.microsoft.com/office/drawing/2014/main" val="197051380"/>
                    </a:ext>
                  </a:extLst>
                </a:gridCol>
              </a:tblGrid>
              <a:tr h="324584">
                <a:tc>
                  <a:txBody>
                    <a:bodyPr/>
                    <a:lstStyle/>
                    <a:p>
                      <a:r>
                        <a:rPr lang="en-IE" sz="1400" b="1">
                          <a:solidFill>
                            <a:schemeClr val="tx2"/>
                          </a:solidFill>
                        </a:rPr>
                        <a:t>Historic Challe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E" sz="1400" b="1">
                          <a:solidFill>
                            <a:schemeClr val="tx2"/>
                          </a:solidFill>
                        </a:rPr>
                        <a:t>What’s Changed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1811174"/>
                  </a:ext>
                </a:extLst>
              </a:tr>
              <a:tr h="617016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Economics - focus has historically prioritised the decarbonisation of electricity due to lower abatement cost, decarbonising heat received less attention and support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he need to reduce emissions from all sectors - biomethane is the lowest cost option to decarbonise many high temperature heat applications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7062092"/>
                  </a:ext>
                </a:extLst>
              </a:tr>
              <a:tr h="6636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Historically advocacy primarily from AD technology sector or developers – not a compelling option to Governmen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Industry is now demanding a supply of biomethane fuel in order to achieve their decarbonisation target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9742275"/>
                  </a:ext>
                </a:extLst>
              </a:tr>
              <a:tr h="651278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Limited regulatory pressure / Government appetit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EU has set aggressive targets for both decarbonisation of heat and the production of biomethane</a:t>
                      </a:r>
                    </a:p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Security of supply concerns has increased interes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7928092"/>
                  </a:ext>
                </a:extLst>
              </a:tr>
              <a:tr h="764958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Cautious government approach due to nervousness of impacting </a:t>
                      </a:r>
                      <a:r>
                        <a:rPr lang="en-IE" sz="1400" err="1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agri</a:t>
                      </a:r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-sector dynamic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Studies have shown that Ireland has additional, untapped feedstock capacity which can assist farm-level decarbonisation and also reduce nitrogen based fertiliser usag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3714283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Government unwilling to lock into long-term subsidies to incentivise investments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he proposed Renewable Heat Obligation (RHO) scheme will provide long term support while placing no burden on Government fund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30313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Developing an new energy sector, with the risk of unintended, negative consequences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here are now over 10,000 AD plants operating across Europe, with 80 operating in NI alone.   Can work if done righ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1500312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tx1"/>
                          </a:solidFill>
                        </a:rPr>
                        <a:t>A challenging sector to secure fund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tx1"/>
                          </a:solidFill>
                        </a:rPr>
                        <a:t>Significant increase in capital chasing this sector – AD now considered a mainstream technolog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1246552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77028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9B4FE-37D0-4D72-B8D7-B95B4B19275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Biomethane Funding</a:t>
            </a:r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6812424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49B47-D2D9-4C54-82D8-585AB5559A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4491" y="447611"/>
            <a:ext cx="10195200" cy="533400"/>
          </a:xfrm>
        </p:spPr>
        <p:txBody>
          <a:bodyPr/>
          <a:lstStyle/>
          <a:p>
            <a:r>
              <a:rPr lang="en-IE"/>
              <a:t>Biomethane plant economics &amp; fundin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00A5BD4-2AD2-4054-99D3-8B4278174AD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098" y="1228939"/>
            <a:ext cx="6512674" cy="46480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F20DF45-AB13-4B56-8D96-FDE37E1F92E4}"/>
              </a:ext>
            </a:extLst>
          </p:cNvPr>
          <p:cNvSpPr txBox="1"/>
          <p:nvPr/>
        </p:nvSpPr>
        <p:spPr>
          <a:xfrm>
            <a:off x="7713552" y="1747319"/>
            <a:ext cx="3929204" cy="79670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285750" indent="-2857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IE" b="1">
                <a:solidFill>
                  <a:schemeClr val="tx2"/>
                </a:solidFill>
              </a:rPr>
              <a:t>Scale: </a:t>
            </a:r>
            <a:r>
              <a:rPr lang="en-IE">
                <a:solidFill>
                  <a:schemeClr val="tx2"/>
                </a:solidFill>
              </a:rPr>
              <a:t>20 GWh+ Plant</a:t>
            </a:r>
          </a:p>
          <a:p>
            <a:pPr marL="285750" indent="-2857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IE" b="1">
              <a:solidFill>
                <a:schemeClr val="tx2"/>
              </a:solidFill>
            </a:endParaRPr>
          </a:p>
          <a:p>
            <a:pPr marL="285750" indent="-2857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IE" b="1">
                <a:solidFill>
                  <a:schemeClr val="tx2"/>
                </a:solidFill>
              </a:rPr>
              <a:t>Capex: </a:t>
            </a:r>
            <a:r>
              <a:rPr lang="en-IE">
                <a:solidFill>
                  <a:schemeClr val="tx2"/>
                </a:solidFill>
              </a:rPr>
              <a:t>€6m - €8m</a:t>
            </a:r>
          </a:p>
          <a:p>
            <a:pPr marL="285750" indent="-2857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IE" b="1">
              <a:solidFill>
                <a:schemeClr val="tx2"/>
              </a:solidFill>
            </a:endParaRPr>
          </a:p>
          <a:p>
            <a:pPr marL="285750" indent="-2857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IE" b="1">
                <a:solidFill>
                  <a:schemeClr val="tx2"/>
                </a:solidFill>
              </a:rPr>
              <a:t>Investment Return: </a:t>
            </a:r>
            <a:r>
              <a:rPr lang="en-IE">
                <a:solidFill>
                  <a:schemeClr val="tx2"/>
                </a:solidFill>
              </a:rPr>
              <a:t>8%+</a:t>
            </a:r>
          </a:p>
          <a:p>
            <a:pPr marL="285750" indent="-2857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IE" b="1">
              <a:solidFill>
                <a:schemeClr val="tx2"/>
              </a:solidFill>
            </a:endParaRPr>
          </a:p>
          <a:p>
            <a:pPr marL="285750" indent="-2857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IE" b="1">
                <a:solidFill>
                  <a:schemeClr val="tx2"/>
                </a:solidFill>
              </a:rPr>
              <a:t>Biomethane Support: </a:t>
            </a:r>
            <a:r>
              <a:rPr lang="en-IE">
                <a:solidFill>
                  <a:schemeClr val="tx2"/>
                </a:solidFill>
              </a:rPr>
              <a:t>€ 9c/kWh+</a:t>
            </a:r>
          </a:p>
          <a:p>
            <a:pPr marL="285750" indent="-2857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IE">
              <a:solidFill>
                <a:schemeClr val="tx2"/>
              </a:solidFill>
            </a:endParaRPr>
          </a:p>
          <a:p>
            <a:pPr marL="285750" indent="-2857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IE" b="1">
              <a:solidFill>
                <a:schemeClr val="tx2"/>
              </a:solidFill>
            </a:endParaRPr>
          </a:p>
          <a:p>
            <a:pPr algn="l">
              <a:spcAft>
                <a:spcPts val="600"/>
              </a:spcAft>
            </a:pPr>
            <a:endParaRPr lang="en-IE" b="1">
              <a:solidFill>
                <a:schemeClr val="tx2"/>
              </a:solidFill>
            </a:endParaRPr>
          </a:p>
          <a:p>
            <a:pPr marL="285750" indent="-2857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IE" b="1">
              <a:solidFill>
                <a:schemeClr val="tx2"/>
              </a:solidFill>
            </a:endParaRPr>
          </a:p>
          <a:p>
            <a:pPr marL="285750" indent="-2857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IE" b="1">
              <a:solidFill>
                <a:schemeClr val="tx2"/>
              </a:solidFill>
            </a:endParaRPr>
          </a:p>
          <a:p>
            <a:pPr marL="285750" indent="-2857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IE" b="1">
              <a:solidFill>
                <a:schemeClr val="tx2"/>
              </a:solidFill>
            </a:endParaRPr>
          </a:p>
          <a:p>
            <a:pPr marL="285750" indent="-2857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IE" b="1">
              <a:solidFill>
                <a:schemeClr val="tx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A7E652D-C1CA-4383-8BE3-DDCD9EE72E8A}"/>
              </a:ext>
            </a:extLst>
          </p:cNvPr>
          <p:cNvSpPr/>
          <p:nvPr/>
        </p:nvSpPr>
        <p:spPr>
          <a:xfrm>
            <a:off x="844491" y="2292234"/>
            <a:ext cx="241070" cy="7190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IE" sz="1500" err="1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47B0CC-12FF-4476-ADD1-A2185CF674B4}"/>
              </a:ext>
            </a:extLst>
          </p:cNvPr>
          <p:cNvSpPr txBox="1"/>
          <p:nvPr/>
        </p:nvSpPr>
        <p:spPr>
          <a:xfrm rot="16200000">
            <a:off x="342621" y="2733745"/>
            <a:ext cx="108273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E" sz="1400"/>
              <a:t>€ c/kWh</a:t>
            </a:r>
          </a:p>
        </p:txBody>
      </p:sp>
    </p:spTree>
    <p:extLst>
      <p:ext uri="{BB962C8B-B14F-4D97-AF65-F5344CB8AC3E}">
        <p14:creationId xmlns:p14="http://schemas.microsoft.com/office/powerpoint/2010/main" val="30139340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BFD56B-08AE-41A4-81E3-384FEBE392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Green Finance is in Vogue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B0053FA5-2769-4A24-9EA6-4978A64D928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04189124"/>
              </p:ext>
            </p:extLst>
          </p:nvPr>
        </p:nvGraphicFramePr>
        <p:xfrm>
          <a:off x="1065229" y="1461369"/>
          <a:ext cx="9596485" cy="42285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A50FD67D-BDAF-4686-A7A5-5C985614FFBB}"/>
              </a:ext>
            </a:extLst>
          </p:cNvPr>
          <p:cNvSpPr txBox="1"/>
          <p:nvPr/>
        </p:nvSpPr>
        <p:spPr>
          <a:xfrm>
            <a:off x="1065229" y="1073864"/>
            <a:ext cx="10451952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200" b="1">
                <a:solidFill>
                  <a:schemeClr val="tx2"/>
                </a:solidFill>
              </a:rPr>
              <a:t>Total Global Sustainable Asse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DCC0FC-E2B6-4D89-851F-57919D6054DC}"/>
              </a:ext>
            </a:extLst>
          </p:cNvPr>
          <p:cNvSpPr txBox="1"/>
          <p:nvPr/>
        </p:nvSpPr>
        <p:spPr>
          <a:xfrm>
            <a:off x="998400" y="5818604"/>
            <a:ext cx="914400" cy="9144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endParaRPr lang="en-US" sz="8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F5B879B-D482-4287-B9C6-D9C4B311ABA3}"/>
              </a:ext>
            </a:extLst>
          </p:cNvPr>
          <p:cNvSpPr txBox="1"/>
          <p:nvPr/>
        </p:nvSpPr>
        <p:spPr>
          <a:xfrm>
            <a:off x="998400" y="5876925"/>
            <a:ext cx="10204450" cy="315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IE" sz="1100" b="1">
                <a:solidFill>
                  <a:schemeClr val="tx2"/>
                </a:solidFill>
              </a:rPr>
              <a:t>Source:  Global Sustainable Investment Alliance. Studies include 2012-2020.  2025 Forecast from joint research of GSAI and Bloomberg. </a:t>
            </a:r>
          </a:p>
        </p:txBody>
      </p:sp>
    </p:spTree>
    <p:extLst>
      <p:ext uri="{BB962C8B-B14F-4D97-AF65-F5344CB8AC3E}">
        <p14:creationId xmlns:p14="http://schemas.microsoft.com/office/powerpoint/2010/main" val="32348504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F86912-765A-4389-8E6F-7DA72E71AE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5363" y="447174"/>
            <a:ext cx="10340845" cy="533400"/>
          </a:xfrm>
        </p:spPr>
        <p:txBody>
          <a:bodyPr/>
          <a:lstStyle/>
          <a:p>
            <a:r>
              <a:rPr lang="en-IE"/>
              <a:t>Global investment in low carbon tech/renewables is grow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298D18-D5DD-4556-9129-E4DE6F9F5840}"/>
              </a:ext>
            </a:extLst>
          </p:cNvPr>
          <p:cNvSpPr/>
          <p:nvPr/>
        </p:nvSpPr>
        <p:spPr>
          <a:xfrm>
            <a:off x="4818580" y="1280012"/>
            <a:ext cx="3010328" cy="4152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IE" sz="1500" err="1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15F4AA-4B5F-4156-94D3-7B2B5AD7DBE4}"/>
              </a:ext>
            </a:extLst>
          </p:cNvPr>
          <p:cNvSpPr txBox="1"/>
          <p:nvPr/>
        </p:nvSpPr>
        <p:spPr>
          <a:xfrm>
            <a:off x="995362" y="5876925"/>
            <a:ext cx="6373368" cy="31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IE" sz="1200" b="1">
                <a:solidFill>
                  <a:schemeClr val="tx2"/>
                </a:solidFill>
              </a:rPr>
              <a:t>Source: IEA World Energy Investment 2022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48F244C0-B675-476C-BE9E-AD15AFF2AE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5257277"/>
              </p:ext>
            </p:extLst>
          </p:nvPr>
        </p:nvGraphicFramePr>
        <p:xfrm>
          <a:off x="995362" y="1314169"/>
          <a:ext cx="10638450" cy="4263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104931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C44779-FF06-472E-AFD4-CD12E18AE6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7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C44779-FF06-472E-AFD4-CD12E18AE6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67591A-27BA-4668-91D5-7732EC5F4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104" y="436243"/>
            <a:ext cx="10195200" cy="533400"/>
          </a:xfrm>
        </p:spPr>
        <p:txBody>
          <a:bodyPr vert="horz"/>
          <a:lstStyle/>
          <a:p>
            <a:r>
              <a:rPr lang="en-IE"/>
              <a:t>With vast flows of Private Equity capital…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CE7FEA-7FC0-406C-A9F5-A17647DB6AA7}"/>
              </a:ext>
            </a:extLst>
          </p:cNvPr>
          <p:cNvSpPr txBox="1"/>
          <p:nvPr/>
        </p:nvSpPr>
        <p:spPr>
          <a:xfrm>
            <a:off x="542924" y="5915977"/>
            <a:ext cx="11002127" cy="200002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endParaRPr lang="en-US" sz="700" i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63DAFE5-9DE3-4BE8-8C14-9775D658A605}"/>
              </a:ext>
            </a:extLst>
          </p:cNvPr>
          <p:cNvSpPr/>
          <p:nvPr/>
        </p:nvSpPr>
        <p:spPr>
          <a:xfrm>
            <a:off x="542924" y="1494086"/>
            <a:ext cx="10756226" cy="4427210"/>
          </a:xfrm>
          <a:prstGeom prst="rect">
            <a:avLst/>
          </a:prstGeom>
          <a:solidFill>
            <a:srgbClr val="F2F2F2"/>
          </a:solidFill>
          <a:ln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900">
              <a:solidFill>
                <a:srgbClr val="FFFFFF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907947A0-CCD5-469D-88C5-1285554E442C}"/>
              </a:ext>
            </a:extLst>
          </p:cNvPr>
          <p:cNvSpPr/>
          <p:nvPr/>
        </p:nvSpPr>
        <p:spPr>
          <a:xfrm>
            <a:off x="757040" y="4556700"/>
            <a:ext cx="10190336" cy="1246909"/>
          </a:xfrm>
          <a:prstGeom prst="roundRect">
            <a:avLst>
              <a:gd name="adj" fmla="val 4671"/>
            </a:avLst>
          </a:prstGeom>
          <a:solidFill>
            <a:schemeClr val="bg1"/>
          </a:solidFill>
          <a:ln w="9525" cap="flat" cmpd="sng" algn="ctr">
            <a:solidFill>
              <a:srgbClr val="002060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t"/>
          <a:lstStyle/>
          <a:p>
            <a:pPr algn="ctr"/>
            <a:endParaRPr lang="en-US" sz="1200" b="1" baseline="3000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4EB2628-C749-4CA6-AAF3-7A248A325E6D}"/>
              </a:ext>
            </a:extLst>
          </p:cNvPr>
          <p:cNvSpPr/>
          <p:nvPr/>
        </p:nvSpPr>
        <p:spPr>
          <a:xfrm>
            <a:off x="542924" y="1174554"/>
            <a:ext cx="10756226" cy="274320"/>
          </a:xfrm>
          <a:prstGeom prst="rect">
            <a:avLst/>
          </a:prstGeom>
          <a:solidFill>
            <a:srgbClr val="00338D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US" sz="1200" b="1">
                <a:solidFill>
                  <a:schemeClr val="bg1"/>
                </a:solidFill>
              </a:rPr>
              <a:t>Infra / Private Equity Funds &amp; Asset Managers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3D88BE66-4710-4EE1-9B3D-F65066DE7AF1}"/>
              </a:ext>
            </a:extLst>
          </p:cNvPr>
          <p:cNvSpPr/>
          <p:nvPr/>
        </p:nvSpPr>
        <p:spPr>
          <a:xfrm>
            <a:off x="759500" y="2108473"/>
            <a:ext cx="10245111" cy="1963317"/>
          </a:xfrm>
          <a:prstGeom prst="roundRect">
            <a:avLst>
              <a:gd name="adj" fmla="val 4671"/>
            </a:avLst>
          </a:prstGeom>
          <a:solidFill>
            <a:schemeClr val="bg1"/>
          </a:solidFill>
          <a:ln w="9525" cap="flat" cmpd="sng" algn="ctr">
            <a:solidFill>
              <a:srgbClr val="002060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t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Global Low-Carbon Investments by VC / PE Firms</a:t>
            </a:r>
            <a:r>
              <a:rPr lang="en-US" sz="1200" b="1" baseline="30000">
                <a:solidFill>
                  <a:schemeClr val="tx1"/>
                </a:solidFill>
              </a:rPr>
              <a:t>1</a:t>
            </a:r>
          </a:p>
        </p:txBody>
      </p: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2B623C5E-AA69-4D0E-95F4-E3843B554AEB}"/>
              </a:ext>
            </a:extLst>
          </p:cNvPr>
          <p:cNvGraphicFramePr/>
          <p:nvPr/>
        </p:nvGraphicFramePr>
        <p:xfrm>
          <a:off x="489960" y="2385682"/>
          <a:ext cx="10349489" cy="15337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6" name="Rectangle 47">
            <a:extLst>
              <a:ext uri="{FF2B5EF4-FFF2-40B4-BE49-F238E27FC236}">
                <a16:creationId xmlns:a16="http://schemas.microsoft.com/office/drawing/2014/main" id="{BCEE93BF-0263-41C2-A278-E21E56F728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4039" y="2555649"/>
            <a:ext cx="534391" cy="9793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lIns="0" tIns="0" rIns="0" bIns="0" anchor="ctr">
            <a:sp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$ in billion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599A08D-66C7-4E09-9B49-80EB8C856231}"/>
              </a:ext>
            </a:extLst>
          </p:cNvPr>
          <p:cNvSpPr txBox="1"/>
          <p:nvPr/>
        </p:nvSpPr>
        <p:spPr>
          <a:xfrm>
            <a:off x="757040" y="1658454"/>
            <a:ext cx="10128886" cy="475009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en-GB" sz="1100"/>
              <a:t>Globally, VC and growth PE funding into the Low-Carbon sector </a:t>
            </a:r>
            <a:r>
              <a:rPr lang="en-GB" sz="1100" b="1">
                <a:solidFill>
                  <a:srgbClr val="6D2077"/>
                </a:solidFill>
              </a:rPr>
              <a:t>exceeded $35 billion</a:t>
            </a:r>
            <a:r>
              <a:rPr lang="en-GB" sz="1100"/>
              <a:t> in 2021, making it the best year ever for Low-Carbon investments</a:t>
            </a:r>
          </a:p>
          <a:p>
            <a:pPr>
              <a:spcAft>
                <a:spcPts val="300"/>
              </a:spcAft>
            </a:pPr>
            <a:endParaRPr lang="en-GB" sz="9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E4400B9-A353-498C-B3A6-26E337E0D9ED}"/>
              </a:ext>
            </a:extLst>
          </p:cNvPr>
          <p:cNvSpPr txBox="1"/>
          <p:nvPr/>
        </p:nvSpPr>
        <p:spPr>
          <a:xfrm>
            <a:off x="597652" y="4166195"/>
            <a:ext cx="7272332" cy="35257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en-GB" sz="1100"/>
              <a:t>PE giants globally have mobilized trillions of dollars to fight climate change and make Low-Carbon investments</a:t>
            </a:r>
          </a:p>
          <a:p>
            <a:pPr>
              <a:spcAft>
                <a:spcPts val="300"/>
              </a:spcAft>
            </a:pPr>
            <a:endParaRPr lang="en-GB" sz="900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B4D9DA9E-05E0-4F66-956B-DE65086BD4F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9927" y="4717965"/>
            <a:ext cx="1147907" cy="278777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5F3A983A-2FAD-4293-B7B4-0290A94E01A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2078" y="4599559"/>
            <a:ext cx="1060542" cy="45877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B2945BFF-30C6-49C4-970A-2FF35A93DF43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347905" y="4658621"/>
            <a:ext cx="1281491" cy="34065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6FC0145-DD74-4D5A-94E8-CCB7C3D97DE7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9430" y="4681939"/>
            <a:ext cx="1377060" cy="294013"/>
          </a:xfrm>
          <a:prstGeom prst="rect">
            <a:avLst/>
          </a:prstGeom>
        </p:spPr>
      </p:pic>
      <p:pic>
        <p:nvPicPr>
          <p:cNvPr id="33" name="Picture 16">
            <a:extLst>
              <a:ext uri="{FF2B5EF4-FFF2-40B4-BE49-F238E27FC236}">
                <a16:creationId xmlns:a16="http://schemas.microsoft.com/office/drawing/2014/main" id="{44C6B8C8-C4B7-499D-A2D0-079BC99FEB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871" b="27871"/>
          <a:stretch/>
        </p:blipFill>
        <p:spPr bwMode="auto">
          <a:xfrm>
            <a:off x="1512175" y="5242015"/>
            <a:ext cx="1045638" cy="256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D2C6892A-C795-4D5C-98BC-544A278B29A8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559078" y="5142614"/>
            <a:ext cx="1239839" cy="420055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B2E028B0-550C-4A68-9E6F-1EE901EA896F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772671" y="5179532"/>
            <a:ext cx="1030971" cy="387479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C5C336DA-EF3F-438D-AE50-3CB4B981D053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8991" y="5159508"/>
            <a:ext cx="1132034" cy="347205"/>
          </a:xfrm>
          <a:prstGeom prst="rect">
            <a:avLst/>
          </a:prstGeom>
        </p:spPr>
      </p:pic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DE48AFF4-C218-45E1-A490-130D3A32F800}"/>
              </a:ext>
            </a:extLst>
          </p:cNvPr>
          <p:cNvSpPr/>
          <p:nvPr/>
        </p:nvSpPr>
        <p:spPr>
          <a:xfrm rot="16200000">
            <a:off x="865755" y="5527714"/>
            <a:ext cx="245357" cy="245683"/>
          </a:xfrm>
          <a:custGeom>
            <a:avLst/>
            <a:gdLst>
              <a:gd name="connsiteX0" fmla="*/ 182559 w 565444"/>
              <a:gd name="connsiteY0" fmla="*/ 37056 h 676134"/>
              <a:gd name="connsiteX1" fmla="*/ 182559 w 565444"/>
              <a:gd name="connsiteY1" fmla="*/ 175472 h 676134"/>
              <a:gd name="connsiteX2" fmla="*/ 108447 w 565444"/>
              <a:gd name="connsiteY2" fmla="*/ 175472 h 676134"/>
              <a:gd name="connsiteX3" fmla="*/ 108447 w 565444"/>
              <a:gd name="connsiteY3" fmla="*/ 37056 h 676134"/>
              <a:gd name="connsiteX4" fmla="*/ 145503 w 565444"/>
              <a:gd name="connsiteY4" fmla="*/ 0 h 676134"/>
              <a:gd name="connsiteX5" fmla="*/ 182559 w 565444"/>
              <a:gd name="connsiteY5" fmla="*/ 37056 h 676134"/>
              <a:gd name="connsiteX6" fmla="*/ 456997 w 565444"/>
              <a:gd name="connsiteY6" fmla="*/ 37056 h 676134"/>
              <a:gd name="connsiteX7" fmla="*/ 456997 w 565444"/>
              <a:gd name="connsiteY7" fmla="*/ 175472 h 676134"/>
              <a:gd name="connsiteX8" fmla="*/ 382885 w 565444"/>
              <a:gd name="connsiteY8" fmla="*/ 175472 h 676134"/>
              <a:gd name="connsiteX9" fmla="*/ 382885 w 565444"/>
              <a:gd name="connsiteY9" fmla="*/ 37056 h 676134"/>
              <a:gd name="connsiteX10" fmla="*/ 419941 w 565444"/>
              <a:gd name="connsiteY10" fmla="*/ 0 h 676134"/>
              <a:gd name="connsiteX11" fmla="*/ 456997 w 565444"/>
              <a:gd name="connsiteY11" fmla="*/ 37056 h 676134"/>
              <a:gd name="connsiteX12" fmla="*/ 486829 w 565444"/>
              <a:gd name="connsiteY12" fmla="*/ 382985 h 676134"/>
              <a:gd name="connsiteX13" fmla="*/ 483130 w 565444"/>
              <a:gd name="connsiteY13" fmla="*/ 374057 h 676134"/>
              <a:gd name="connsiteX14" fmla="*/ 474202 w 565444"/>
              <a:gd name="connsiteY14" fmla="*/ 370359 h 676134"/>
              <a:gd name="connsiteX15" fmla="*/ 91243 w 565444"/>
              <a:gd name="connsiteY15" fmla="*/ 370358 h 676134"/>
              <a:gd name="connsiteX16" fmla="*/ 78616 w 565444"/>
              <a:gd name="connsiteY16" fmla="*/ 382985 h 676134"/>
              <a:gd name="connsiteX17" fmla="*/ 78615 w 565444"/>
              <a:gd name="connsiteY17" fmla="*/ 382985 h 676134"/>
              <a:gd name="connsiteX18" fmla="*/ 91242 w 565444"/>
              <a:gd name="connsiteY18" fmla="*/ 395612 h 676134"/>
              <a:gd name="connsiteX19" fmla="*/ 474202 w 565444"/>
              <a:gd name="connsiteY19" fmla="*/ 395612 h 676134"/>
              <a:gd name="connsiteX20" fmla="*/ 483130 w 565444"/>
              <a:gd name="connsiteY20" fmla="*/ 391914 h 676134"/>
              <a:gd name="connsiteX21" fmla="*/ 486829 w 565444"/>
              <a:gd name="connsiteY21" fmla="*/ 329550 h 676134"/>
              <a:gd name="connsiteX22" fmla="*/ 483130 w 565444"/>
              <a:gd name="connsiteY22" fmla="*/ 320622 h 676134"/>
              <a:gd name="connsiteX23" fmla="*/ 474202 w 565444"/>
              <a:gd name="connsiteY23" fmla="*/ 316924 h 676134"/>
              <a:gd name="connsiteX24" fmla="*/ 91243 w 565444"/>
              <a:gd name="connsiteY24" fmla="*/ 316923 h 676134"/>
              <a:gd name="connsiteX25" fmla="*/ 78616 w 565444"/>
              <a:gd name="connsiteY25" fmla="*/ 329550 h 676134"/>
              <a:gd name="connsiteX26" fmla="*/ 78615 w 565444"/>
              <a:gd name="connsiteY26" fmla="*/ 329550 h 676134"/>
              <a:gd name="connsiteX27" fmla="*/ 91242 w 565444"/>
              <a:gd name="connsiteY27" fmla="*/ 342177 h 676134"/>
              <a:gd name="connsiteX28" fmla="*/ 474202 w 565444"/>
              <a:gd name="connsiteY28" fmla="*/ 342177 h 676134"/>
              <a:gd name="connsiteX29" fmla="*/ 483130 w 565444"/>
              <a:gd name="connsiteY29" fmla="*/ 338479 h 676134"/>
              <a:gd name="connsiteX30" fmla="*/ 486829 w 565444"/>
              <a:gd name="connsiteY30" fmla="*/ 276115 h 676134"/>
              <a:gd name="connsiteX31" fmla="*/ 483130 w 565444"/>
              <a:gd name="connsiteY31" fmla="*/ 267187 h 676134"/>
              <a:gd name="connsiteX32" fmla="*/ 474202 w 565444"/>
              <a:gd name="connsiteY32" fmla="*/ 263489 h 676134"/>
              <a:gd name="connsiteX33" fmla="*/ 91243 w 565444"/>
              <a:gd name="connsiteY33" fmla="*/ 263488 h 676134"/>
              <a:gd name="connsiteX34" fmla="*/ 78616 w 565444"/>
              <a:gd name="connsiteY34" fmla="*/ 276115 h 676134"/>
              <a:gd name="connsiteX35" fmla="*/ 78615 w 565444"/>
              <a:gd name="connsiteY35" fmla="*/ 276115 h 676134"/>
              <a:gd name="connsiteX36" fmla="*/ 91242 w 565444"/>
              <a:gd name="connsiteY36" fmla="*/ 288742 h 676134"/>
              <a:gd name="connsiteX37" fmla="*/ 474202 w 565444"/>
              <a:gd name="connsiteY37" fmla="*/ 288742 h 676134"/>
              <a:gd name="connsiteX38" fmla="*/ 483130 w 565444"/>
              <a:gd name="connsiteY38" fmla="*/ 285044 h 676134"/>
              <a:gd name="connsiteX39" fmla="*/ 565444 w 565444"/>
              <a:gd name="connsiteY39" fmla="*/ 194687 h 676134"/>
              <a:gd name="connsiteX40" fmla="*/ 546230 w 565444"/>
              <a:gd name="connsiteY40" fmla="*/ 213901 h 676134"/>
              <a:gd name="connsiteX41" fmla="*/ 525276 w 565444"/>
              <a:gd name="connsiteY41" fmla="*/ 213901 h 676134"/>
              <a:gd name="connsiteX42" fmla="*/ 508899 w 565444"/>
              <a:gd name="connsiteY42" fmla="*/ 524387 h 676134"/>
              <a:gd name="connsiteX43" fmla="*/ 378242 w 565444"/>
              <a:gd name="connsiteY43" fmla="*/ 676134 h 676134"/>
              <a:gd name="connsiteX44" fmla="*/ 184454 w 565444"/>
              <a:gd name="connsiteY44" fmla="*/ 676134 h 676134"/>
              <a:gd name="connsiteX45" fmla="*/ 53798 w 565444"/>
              <a:gd name="connsiteY45" fmla="*/ 524387 h 676134"/>
              <a:gd name="connsiteX46" fmla="*/ 37421 w 565444"/>
              <a:gd name="connsiteY46" fmla="*/ 213901 h 676134"/>
              <a:gd name="connsiteX47" fmla="*/ 19214 w 565444"/>
              <a:gd name="connsiteY47" fmla="*/ 213901 h 676134"/>
              <a:gd name="connsiteX48" fmla="*/ 0 w 565444"/>
              <a:gd name="connsiteY48" fmla="*/ 194687 h 676134"/>
              <a:gd name="connsiteX49" fmla="*/ 19214 w 565444"/>
              <a:gd name="connsiteY49" fmla="*/ 175473 h 676134"/>
              <a:gd name="connsiteX50" fmla="*/ 546230 w 565444"/>
              <a:gd name="connsiteY50" fmla="*/ 175473 h 676134"/>
              <a:gd name="connsiteX51" fmla="*/ 565444 w 565444"/>
              <a:gd name="connsiteY51" fmla="*/ 194687 h 676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565444" h="676134">
                <a:moveTo>
                  <a:pt x="182559" y="37056"/>
                </a:moveTo>
                <a:lnTo>
                  <a:pt x="182559" y="175472"/>
                </a:lnTo>
                <a:lnTo>
                  <a:pt x="108447" y="175472"/>
                </a:lnTo>
                <a:lnTo>
                  <a:pt x="108447" y="37056"/>
                </a:lnTo>
                <a:cubicBezTo>
                  <a:pt x="108447" y="16591"/>
                  <a:pt x="125038" y="0"/>
                  <a:pt x="145503" y="0"/>
                </a:cubicBezTo>
                <a:cubicBezTo>
                  <a:pt x="165968" y="0"/>
                  <a:pt x="182559" y="16591"/>
                  <a:pt x="182559" y="37056"/>
                </a:cubicBezTo>
                <a:close/>
                <a:moveTo>
                  <a:pt x="456997" y="37056"/>
                </a:moveTo>
                <a:lnTo>
                  <a:pt x="456997" y="175472"/>
                </a:lnTo>
                <a:lnTo>
                  <a:pt x="382885" y="175472"/>
                </a:lnTo>
                <a:lnTo>
                  <a:pt x="382885" y="37056"/>
                </a:lnTo>
                <a:cubicBezTo>
                  <a:pt x="382885" y="16591"/>
                  <a:pt x="399476" y="0"/>
                  <a:pt x="419941" y="0"/>
                </a:cubicBezTo>
                <a:cubicBezTo>
                  <a:pt x="440406" y="0"/>
                  <a:pt x="456997" y="16591"/>
                  <a:pt x="456997" y="37056"/>
                </a:cubicBezTo>
                <a:close/>
                <a:moveTo>
                  <a:pt x="486829" y="382985"/>
                </a:moveTo>
                <a:lnTo>
                  <a:pt x="483130" y="374057"/>
                </a:lnTo>
                <a:cubicBezTo>
                  <a:pt x="480845" y="371772"/>
                  <a:pt x="477689" y="370359"/>
                  <a:pt x="474202" y="370359"/>
                </a:cubicBezTo>
                <a:lnTo>
                  <a:pt x="91243" y="370358"/>
                </a:lnTo>
                <a:cubicBezTo>
                  <a:pt x="84269" y="370358"/>
                  <a:pt x="78616" y="376011"/>
                  <a:pt x="78616" y="382985"/>
                </a:cubicBezTo>
                <a:lnTo>
                  <a:pt x="78615" y="382985"/>
                </a:lnTo>
                <a:cubicBezTo>
                  <a:pt x="78615" y="389959"/>
                  <a:pt x="84268" y="395612"/>
                  <a:pt x="91242" y="395612"/>
                </a:cubicBezTo>
                <a:lnTo>
                  <a:pt x="474202" y="395612"/>
                </a:lnTo>
                <a:cubicBezTo>
                  <a:pt x="477689" y="395612"/>
                  <a:pt x="480845" y="394199"/>
                  <a:pt x="483130" y="391914"/>
                </a:cubicBezTo>
                <a:close/>
                <a:moveTo>
                  <a:pt x="486829" y="329550"/>
                </a:moveTo>
                <a:lnTo>
                  <a:pt x="483130" y="320622"/>
                </a:lnTo>
                <a:cubicBezTo>
                  <a:pt x="480845" y="318337"/>
                  <a:pt x="477689" y="316924"/>
                  <a:pt x="474202" y="316924"/>
                </a:cubicBezTo>
                <a:lnTo>
                  <a:pt x="91243" y="316923"/>
                </a:lnTo>
                <a:cubicBezTo>
                  <a:pt x="84269" y="316923"/>
                  <a:pt x="78616" y="322576"/>
                  <a:pt x="78616" y="329550"/>
                </a:cubicBezTo>
                <a:lnTo>
                  <a:pt x="78615" y="329550"/>
                </a:lnTo>
                <a:cubicBezTo>
                  <a:pt x="78615" y="336524"/>
                  <a:pt x="84268" y="342177"/>
                  <a:pt x="91242" y="342177"/>
                </a:cubicBezTo>
                <a:lnTo>
                  <a:pt x="474202" y="342177"/>
                </a:lnTo>
                <a:cubicBezTo>
                  <a:pt x="477689" y="342177"/>
                  <a:pt x="480845" y="340764"/>
                  <a:pt x="483130" y="338479"/>
                </a:cubicBezTo>
                <a:close/>
                <a:moveTo>
                  <a:pt x="486829" y="276115"/>
                </a:moveTo>
                <a:lnTo>
                  <a:pt x="483130" y="267187"/>
                </a:lnTo>
                <a:cubicBezTo>
                  <a:pt x="480845" y="264902"/>
                  <a:pt x="477689" y="263489"/>
                  <a:pt x="474202" y="263489"/>
                </a:cubicBezTo>
                <a:lnTo>
                  <a:pt x="91243" y="263488"/>
                </a:lnTo>
                <a:cubicBezTo>
                  <a:pt x="84269" y="263488"/>
                  <a:pt x="78616" y="269141"/>
                  <a:pt x="78616" y="276115"/>
                </a:cubicBezTo>
                <a:lnTo>
                  <a:pt x="78615" y="276115"/>
                </a:lnTo>
                <a:cubicBezTo>
                  <a:pt x="78615" y="283089"/>
                  <a:pt x="84268" y="288742"/>
                  <a:pt x="91242" y="288742"/>
                </a:cubicBezTo>
                <a:lnTo>
                  <a:pt x="474202" y="288742"/>
                </a:lnTo>
                <a:cubicBezTo>
                  <a:pt x="477689" y="288742"/>
                  <a:pt x="480845" y="287329"/>
                  <a:pt x="483130" y="285044"/>
                </a:cubicBezTo>
                <a:close/>
                <a:moveTo>
                  <a:pt x="565444" y="194687"/>
                </a:moveTo>
                <a:cubicBezTo>
                  <a:pt x="565444" y="205299"/>
                  <a:pt x="556842" y="213901"/>
                  <a:pt x="546230" y="213901"/>
                </a:cubicBezTo>
                <a:lnTo>
                  <a:pt x="525276" y="213901"/>
                </a:lnTo>
                <a:lnTo>
                  <a:pt x="508899" y="524387"/>
                </a:lnTo>
                <a:cubicBezTo>
                  <a:pt x="504507" y="609787"/>
                  <a:pt x="447139" y="676134"/>
                  <a:pt x="378242" y="676134"/>
                </a:cubicBezTo>
                <a:lnTo>
                  <a:pt x="184454" y="676134"/>
                </a:lnTo>
                <a:cubicBezTo>
                  <a:pt x="115558" y="676134"/>
                  <a:pt x="58190" y="609787"/>
                  <a:pt x="53798" y="524387"/>
                </a:cubicBezTo>
                <a:lnTo>
                  <a:pt x="37421" y="213901"/>
                </a:lnTo>
                <a:lnTo>
                  <a:pt x="19214" y="213901"/>
                </a:lnTo>
                <a:cubicBezTo>
                  <a:pt x="8602" y="213901"/>
                  <a:pt x="0" y="205299"/>
                  <a:pt x="0" y="194687"/>
                </a:cubicBezTo>
                <a:cubicBezTo>
                  <a:pt x="0" y="184075"/>
                  <a:pt x="8602" y="175473"/>
                  <a:pt x="19214" y="175473"/>
                </a:cubicBezTo>
                <a:lnTo>
                  <a:pt x="546230" y="175473"/>
                </a:lnTo>
                <a:cubicBezTo>
                  <a:pt x="556842" y="175473"/>
                  <a:pt x="565444" y="184075"/>
                  <a:pt x="565444" y="194687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8" name="Arrow: Bent 37">
            <a:extLst>
              <a:ext uri="{FF2B5EF4-FFF2-40B4-BE49-F238E27FC236}">
                <a16:creationId xmlns:a16="http://schemas.microsoft.com/office/drawing/2014/main" id="{19B20542-03A0-4110-9887-FA2F0D562279}"/>
              </a:ext>
            </a:extLst>
          </p:cNvPr>
          <p:cNvSpPr/>
          <p:nvPr/>
        </p:nvSpPr>
        <p:spPr>
          <a:xfrm flipH="1" flipV="1">
            <a:off x="1111273" y="5354383"/>
            <a:ext cx="9156676" cy="346984"/>
          </a:xfrm>
          <a:prstGeom prst="bentArrow">
            <a:avLst>
              <a:gd name="adj1" fmla="val 14113"/>
              <a:gd name="adj2" fmla="val 12152"/>
              <a:gd name="adj3" fmla="val 0"/>
              <a:gd name="adj4" fmla="val 54531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F344DD36-0FA0-4BD4-846C-8C7C098E13B6}"/>
              </a:ext>
            </a:extLst>
          </p:cNvPr>
          <p:cNvSpPr/>
          <p:nvPr/>
        </p:nvSpPr>
        <p:spPr>
          <a:xfrm flipH="1">
            <a:off x="9899967" y="4617237"/>
            <a:ext cx="677083" cy="793498"/>
          </a:xfrm>
          <a:custGeom>
            <a:avLst/>
            <a:gdLst>
              <a:gd name="connsiteX0" fmla="*/ 501893 w 892078"/>
              <a:gd name="connsiteY0" fmla="*/ 0 h 1332338"/>
              <a:gd name="connsiteX1" fmla="*/ 498205 w 892078"/>
              <a:gd name="connsiteY1" fmla="*/ 53000 h 1332338"/>
              <a:gd name="connsiteX2" fmla="*/ 456830 w 892078"/>
              <a:gd name="connsiteY2" fmla="*/ 120945 h 1332338"/>
              <a:gd name="connsiteX3" fmla="*/ 387912 w 892078"/>
              <a:gd name="connsiteY3" fmla="*/ 218109 h 1332338"/>
              <a:gd name="connsiteX4" fmla="*/ 391667 w 892078"/>
              <a:gd name="connsiteY4" fmla="*/ 334412 h 1332338"/>
              <a:gd name="connsiteX5" fmla="*/ 407219 w 892078"/>
              <a:gd name="connsiteY5" fmla="*/ 351214 h 1332338"/>
              <a:gd name="connsiteX6" fmla="*/ 413637 w 892078"/>
              <a:gd name="connsiteY6" fmla="*/ 474030 h 1332338"/>
              <a:gd name="connsiteX7" fmla="*/ 416812 w 892078"/>
              <a:gd name="connsiteY7" fmla="*/ 504492 h 1332338"/>
              <a:gd name="connsiteX8" fmla="*/ 402754 w 892078"/>
              <a:gd name="connsiteY8" fmla="*/ 505610 h 1332338"/>
              <a:gd name="connsiteX9" fmla="*/ 369924 w 892078"/>
              <a:gd name="connsiteY9" fmla="*/ 475906 h 1332338"/>
              <a:gd name="connsiteX10" fmla="*/ 126043 w 892078"/>
              <a:gd name="connsiteY10" fmla="*/ 282053 h 1332338"/>
              <a:gd name="connsiteX11" fmla="*/ 204209 w 892078"/>
              <a:gd name="connsiteY11" fmla="*/ 408681 h 1332338"/>
              <a:gd name="connsiteX12" fmla="*/ 344910 w 892078"/>
              <a:gd name="connsiteY12" fmla="*/ 500918 h 1332338"/>
              <a:gd name="connsiteX13" fmla="*/ 418387 w 892078"/>
              <a:gd name="connsiteY13" fmla="*/ 565015 h 1332338"/>
              <a:gd name="connsiteX14" fmla="*/ 404318 w 892078"/>
              <a:gd name="connsiteY14" fmla="*/ 841726 h 1332338"/>
              <a:gd name="connsiteX15" fmla="*/ 354290 w 892078"/>
              <a:gd name="connsiteY15" fmla="*/ 830783 h 1332338"/>
              <a:gd name="connsiteX16" fmla="*/ 353526 w 892078"/>
              <a:gd name="connsiteY16" fmla="*/ 831058 h 1332338"/>
              <a:gd name="connsiteX17" fmla="*/ 350580 w 892078"/>
              <a:gd name="connsiteY17" fmla="*/ 827584 h 1332338"/>
              <a:gd name="connsiteX18" fmla="*/ 347061 w 892078"/>
              <a:gd name="connsiteY18" fmla="*/ 800105 h 1332338"/>
              <a:gd name="connsiteX19" fmla="*/ 281402 w 892078"/>
              <a:gd name="connsiteY19" fmla="*/ 603126 h 1332338"/>
              <a:gd name="connsiteX20" fmla="*/ 0 w 892078"/>
              <a:gd name="connsiteY20" fmla="*/ 531211 h 1332338"/>
              <a:gd name="connsiteX21" fmla="*/ 87546 w 892078"/>
              <a:gd name="connsiteY21" fmla="*/ 639081 h 1332338"/>
              <a:gd name="connsiteX22" fmla="*/ 156335 w 892078"/>
              <a:gd name="connsiteY22" fmla="*/ 770401 h 1332338"/>
              <a:gd name="connsiteX23" fmla="*/ 309542 w 892078"/>
              <a:gd name="connsiteY23" fmla="*/ 829808 h 1332338"/>
              <a:gd name="connsiteX24" fmla="*/ 340979 w 892078"/>
              <a:gd name="connsiteY24" fmla="*/ 837942 h 1332338"/>
              <a:gd name="connsiteX25" fmla="*/ 348283 w 892078"/>
              <a:gd name="connsiteY25" fmla="*/ 838787 h 1332338"/>
              <a:gd name="connsiteX26" fmla="*/ 348036 w 892078"/>
              <a:gd name="connsiteY26" fmla="*/ 840162 h 1332338"/>
              <a:gd name="connsiteX27" fmla="*/ 405880 w 892078"/>
              <a:gd name="connsiteY27" fmla="*/ 949596 h 1332338"/>
              <a:gd name="connsiteX28" fmla="*/ 392717 w 892078"/>
              <a:gd name="connsiteY28" fmla="*/ 1332338 h 1332338"/>
              <a:gd name="connsiteX29" fmla="*/ 473368 w 892078"/>
              <a:gd name="connsiteY29" fmla="*/ 1332338 h 1332338"/>
              <a:gd name="connsiteX30" fmla="*/ 463724 w 892078"/>
              <a:gd name="connsiteY30" fmla="*/ 999622 h 1332338"/>
              <a:gd name="connsiteX31" fmla="*/ 476231 w 892078"/>
              <a:gd name="connsiteY31" fmla="*/ 908949 h 1332338"/>
              <a:gd name="connsiteX32" fmla="*/ 523131 w 892078"/>
              <a:gd name="connsiteY32" fmla="*/ 880809 h 1332338"/>
              <a:gd name="connsiteX33" fmla="*/ 827981 w 892078"/>
              <a:gd name="connsiteY33" fmla="*/ 722913 h 1332338"/>
              <a:gd name="connsiteX34" fmla="*/ 892078 w 892078"/>
              <a:gd name="connsiteY34" fmla="*/ 391486 h 1332338"/>
              <a:gd name="connsiteX35" fmla="*/ 671648 w 892078"/>
              <a:gd name="connsiteY35" fmla="*/ 560326 h 1332338"/>
              <a:gd name="connsiteX36" fmla="*/ 535636 w 892078"/>
              <a:gd name="connsiteY36" fmla="*/ 646309 h 1332338"/>
              <a:gd name="connsiteX37" fmla="*/ 480920 w 892078"/>
              <a:gd name="connsiteY37" fmla="*/ 830783 h 1332338"/>
              <a:gd name="connsiteX38" fmla="*/ 448091 w 892078"/>
              <a:gd name="connsiteY38" fmla="*/ 882373 h 1332338"/>
              <a:gd name="connsiteX39" fmla="*/ 448091 w 892078"/>
              <a:gd name="connsiteY39" fmla="*/ 608790 h 1332338"/>
              <a:gd name="connsiteX40" fmla="*/ 513752 w 892078"/>
              <a:gd name="connsiteY40" fmla="*/ 546257 h 1332338"/>
              <a:gd name="connsiteX41" fmla="*/ 582537 w 892078"/>
              <a:gd name="connsiteY41" fmla="*/ 540003 h 1332338"/>
              <a:gd name="connsiteX42" fmla="*/ 748253 w 892078"/>
              <a:gd name="connsiteY42" fmla="*/ 207012 h 1332338"/>
              <a:gd name="connsiteX43" fmla="*/ 596608 w 892078"/>
              <a:gd name="connsiteY43" fmla="*/ 313318 h 1332338"/>
              <a:gd name="connsiteX44" fmla="*/ 451217 w 892078"/>
              <a:gd name="connsiteY44" fmla="*/ 482159 h 1332338"/>
              <a:gd name="connsiteX45" fmla="*/ 445183 w 892078"/>
              <a:gd name="connsiteY45" fmla="*/ 497255 h 1332338"/>
              <a:gd name="connsiteX46" fmla="*/ 439086 w 892078"/>
              <a:gd name="connsiteY46" fmla="*/ 500090 h 1332338"/>
              <a:gd name="connsiteX47" fmla="*/ 435706 w 892078"/>
              <a:gd name="connsiteY47" fmla="*/ 482384 h 1332338"/>
              <a:gd name="connsiteX48" fmla="*/ 420305 w 892078"/>
              <a:gd name="connsiteY48" fmla="*/ 370688 h 1332338"/>
              <a:gd name="connsiteX49" fmla="*/ 426244 w 892078"/>
              <a:gd name="connsiteY49" fmla="*/ 360755 h 1332338"/>
              <a:gd name="connsiteX50" fmla="*/ 485748 w 892078"/>
              <a:gd name="connsiteY50" fmla="*/ 335852 h 1332338"/>
              <a:gd name="connsiteX51" fmla="*/ 556629 w 892078"/>
              <a:gd name="connsiteY51" fmla="*/ 224791 h 1332338"/>
              <a:gd name="connsiteX52" fmla="*/ 533558 w 892078"/>
              <a:gd name="connsiteY52" fmla="*/ 68029 h 1332338"/>
              <a:gd name="connsiteX53" fmla="*/ 501893 w 892078"/>
              <a:gd name="connsiteY53" fmla="*/ 0 h 1332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892078" h="1332338">
                <a:moveTo>
                  <a:pt x="501893" y="0"/>
                </a:moveTo>
                <a:cubicBezTo>
                  <a:pt x="505496" y="20041"/>
                  <a:pt x="503339" y="36518"/>
                  <a:pt x="498205" y="53000"/>
                </a:cubicBezTo>
                <a:cubicBezTo>
                  <a:pt x="489909" y="79014"/>
                  <a:pt x="474662" y="101069"/>
                  <a:pt x="456830" y="120945"/>
                </a:cubicBezTo>
                <a:cubicBezTo>
                  <a:pt x="430082" y="150759"/>
                  <a:pt x="404129" y="181166"/>
                  <a:pt x="387912" y="218109"/>
                </a:cubicBezTo>
                <a:cubicBezTo>
                  <a:pt x="370904" y="257435"/>
                  <a:pt x="367592" y="296342"/>
                  <a:pt x="391667" y="334412"/>
                </a:cubicBezTo>
                <a:cubicBezTo>
                  <a:pt x="396044" y="341153"/>
                  <a:pt x="402085" y="346893"/>
                  <a:pt x="407219" y="351214"/>
                </a:cubicBezTo>
                <a:cubicBezTo>
                  <a:pt x="406074" y="380095"/>
                  <a:pt x="409823" y="433373"/>
                  <a:pt x="413637" y="474030"/>
                </a:cubicBezTo>
                <a:lnTo>
                  <a:pt x="416812" y="504492"/>
                </a:lnTo>
                <a:lnTo>
                  <a:pt x="402754" y="505610"/>
                </a:lnTo>
                <a:cubicBezTo>
                  <a:pt x="393375" y="507174"/>
                  <a:pt x="371487" y="502482"/>
                  <a:pt x="369924" y="475906"/>
                </a:cubicBezTo>
                <a:cubicBezTo>
                  <a:pt x="358979" y="328953"/>
                  <a:pt x="269870" y="258602"/>
                  <a:pt x="126043" y="282053"/>
                </a:cubicBezTo>
                <a:cubicBezTo>
                  <a:pt x="168253" y="316446"/>
                  <a:pt x="180759" y="364908"/>
                  <a:pt x="204209" y="408681"/>
                </a:cubicBezTo>
                <a:cubicBezTo>
                  <a:pt x="232351" y="463399"/>
                  <a:pt x="265180" y="511863"/>
                  <a:pt x="344910" y="500918"/>
                </a:cubicBezTo>
                <a:cubicBezTo>
                  <a:pt x="371487" y="496228"/>
                  <a:pt x="423077" y="507174"/>
                  <a:pt x="418387" y="565015"/>
                </a:cubicBezTo>
                <a:cubicBezTo>
                  <a:pt x="412133" y="655690"/>
                  <a:pt x="409008" y="747925"/>
                  <a:pt x="404318" y="841726"/>
                </a:cubicBezTo>
                <a:cubicBezTo>
                  <a:pt x="387119" y="838598"/>
                  <a:pt x="371487" y="833909"/>
                  <a:pt x="354290" y="830783"/>
                </a:cubicBezTo>
                <a:lnTo>
                  <a:pt x="353526" y="831058"/>
                </a:lnTo>
                <a:lnTo>
                  <a:pt x="350580" y="827584"/>
                </a:lnTo>
                <a:cubicBezTo>
                  <a:pt x="345889" y="820623"/>
                  <a:pt x="344717" y="813002"/>
                  <a:pt x="347061" y="800105"/>
                </a:cubicBezTo>
                <a:cubicBezTo>
                  <a:pt x="362694" y="723500"/>
                  <a:pt x="339244" y="656278"/>
                  <a:pt x="281402" y="603126"/>
                </a:cubicBezTo>
                <a:cubicBezTo>
                  <a:pt x="218869" y="545282"/>
                  <a:pt x="87546" y="512451"/>
                  <a:pt x="0" y="531211"/>
                </a:cubicBezTo>
                <a:cubicBezTo>
                  <a:pt x="43773" y="554661"/>
                  <a:pt x="68787" y="595308"/>
                  <a:pt x="87546" y="639081"/>
                </a:cubicBezTo>
                <a:cubicBezTo>
                  <a:pt x="106307" y="684418"/>
                  <a:pt x="123503" y="731318"/>
                  <a:pt x="156335" y="770401"/>
                </a:cubicBezTo>
                <a:cubicBezTo>
                  <a:pt x="196980" y="818865"/>
                  <a:pt x="240755" y="856384"/>
                  <a:pt x="309542" y="829808"/>
                </a:cubicBezTo>
                <a:cubicBezTo>
                  <a:pt x="322440" y="823945"/>
                  <a:pt x="330940" y="833912"/>
                  <a:pt x="340979" y="837942"/>
                </a:cubicBezTo>
                <a:lnTo>
                  <a:pt x="348283" y="838787"/>
                </a:lnTo>
                <a:lnTo>
                  <a:pt x="348036" y="840162"/>
                </a:lnTo>
                <a:cubicBezTo>
                  <a:pt x="404318" y="857359"/>
                  <a:pt x="409008" y="898006"/>
                  <a:pt x="405880" y="949596"/>
                </a:cubicBezTo>
                <a:lnTo>
                  <a:pt x="392717" y="1332338"/>
                </a:lnTo>
                <a:lnTo>
                  <a:pt x="473368" y="1332338"/>
                </a:lnTo>
                <a:lnTo>
                  <a:pt x="463724" y="999622"/>
                </a:lnTo>
                <a:cubicBezTo>
                  <a:pt x="463724" y="968357"/>
                  <a:pt x="463724" y="938653"/>
                  <a:pt x="476231" y="908949"/>
                </a:cubicBezTo>
                <a:cubicBezTo>
                  <a:pt x="485610" y="887063"/>
                  <a:pt x="490302" y="874556"/>
                  <a:pt x="523131" y="880809"/>
                </a:cubicBezTo>
                <a:cubicBezTo>
                  <a:pt x="652888" y="904260"/>
                  <a:pt x="767011" y="840162"/>
                  <a:pt x="827981" y="722913"/>
                </a:cubicBezTo>
                <a:cubicBezTo>
                  <a:pt x="878009" y="624423"/>
                  <a:pt x="884261" y="516553"/>
                  <a:pt x="892078" y="391486"/>
                </a:cubicBezTo>
                <a:cubicBezTo>
                  <a:pt x="840488" y="494664"/>
                  <a:pt x="756068" y="525932"/>
                  <a:pt x="671648" y="560326"/>
                </a:cubicBezTo>
                <a:cubicBezTo>
                  <a:pt x="621620" y="580648"/>
                  <a:pt x="573158" y="607226"/>
                  <a:pt x="535636" y="646309"/>
                </a:cubicBezTo>
                <a:cubicBezTo>
                  <a:pt x="485610" y="697899"/>
                  <a:pt x="448091" y="754179"/>
                  <a:pt x="480920" y="830783"/>
                </a:cubicBezTo>
                <a:cubicBezTo>
                  <a:pt x="488738" y="849542"/>
                  <a:pt x="477793" y="868302"/>
                  <a:pt x="448091" y="882373"/>
                </a:cubicBezTo>
                <a:cubicBezTo>
                  <a:pt x="448091" y="787008"/>
                  <a:pt x="448091" y="697899"/>
                  <a:pt x="448091" y="608790"/>
                </a:cubicBezTo>
                <a:cubicBezTo>
                  <a:pt x="448091" y="565015"/>
                  <a:pt x="455908" y="533749"/>
                  <a:pt x="513752" y="546257"/>
                </a:cubicBezTo>
                <a:cubicBezTo>
                  <a:pt x="535636" y="550946"/>
                  <a:pt x="559087" y="546257"/>
                  <a:pt x="582537" y="540003"/>
                </a:cubicBezTo>
                <a:cubicBezTo>
                  <a:pt x="701352" y="504046"/>
                  <a:pt x="779518" y="347712"/>
                  <a:pt x="748253" y="207012"/>
                </a:cubicBezTo>
                <a:cubicBezTo>
                  <a:pt x="716985" y="269546"/>
                  <a:pt x="652888" y="285178"/>
                  <a:pt x="596608" y="313318"/>
                </a:cubicBezTo>
                <a:cubicBezTo>
                  <a:pt x="524693" y="349275"/>
                  <a:pt x="454344" y="386797"/>
                  <a:pt x="451217" y="482159"/>
                </a:cubicBezTo>
                <a:cubicBezTo>
                  <a:pt x="450826" y="489194"/>
                  <a:pt x="448579" y="493982"/>
                  <a:pt x="445183" y="497255"/>
                </a:cubicBezTo>
                <a:lnTo>
                  <a:pt x="439086" y="500090"/>
                </a:lnTo>
                <a:lnTo>
                  <a:pt x="435706" y="482384"/>
                </a:lnTo>
                <a:cubicBezTo>
                  <a:pt x="429401" y="445321"/>
                  <a:pt x="420625" y="384681"/>
                  <a:pt x="420305" y="370688"/>
                </a:cubicBezTo>
                <a:cubicBezTo>
                  <a:pt x="420100" y="366322"/>
                  <a:pt x="417511" y="361166"/>
                  <a:pt x="426244" y="360755"/>
                </a:cubicBezTo>
                <a:cubicBezTo>
                  <a:pt x="449067" y="359727"/>
                  <a:pt x="467310" y="348584"/>
                  <a:pt x="485748" y="335852"/>
                </a:cubicBezTo>
                <a:cubicBezTo>
                  <a:pt x="524607" y="308401"/>
                  <a:pt x="549757" y="272437"/>
                  <a:pt x="556629" y="224791"/>
                </a:cubicBezTo>
                <a:cubicBezTo>
                  <a:pt x="564085" y="170396"/>
                  <a:pt x="553286" y="118213"/>
                  <a:pt x="533558" y="68029"/>
                </a:cubicBezTo>
                <a:cubicBezTo>
                  <a:pt x="524789" y="45615"/>
                  <a:pt x="518004" y="22205"/>
                  <a:pt x="501893" y="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808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0A43F04-D3D8-482B-BEA3-86B22288F67E}"/>
              </a:ext>
            </a:extLst>
          </p:cNvPr>
          <p:cNvSpPr txBox="1"/>
          <p:nvPr/>
        </p:nvSpPr>
        <p:spPr>
          <a:xfrm>
            <a:off x="542148" y="5991714"/>
            <a:ext cx="10245111" cy="31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IE" sz="1200" b="1">
                <a:solidFill>
                  <a:schemeClr val="tx2"/>
                </a:solidFill>
              </a:rPr>
              <a:t>Sources: 1) Pitchbook (PE funding includes only growth and expansion funding); 2) Climate Bonds Initiative.</a:t>
            </a:r>
          </a:p>
        </p:txBody>
      </p:sp>
    </p:spTree>
    <p:extLst>
      <p:ext uri="{BB962C8B-B14F-4D97-AF65-F5344CB8AC3E}">
        <p14:creationId xmlns:p14="http://schemas.microsoft.com/office/powerpoint/2010/main" val="31115921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C44779-FF06-472E-AFD4-CD12E18AE6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0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C44779-FF06-472E-AFD4-CD12E18AE6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67591A-27BA-4668-91D5-7732EC5F4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144" y="480982"/>
            <a:ext cx="11124856" cy="533400"/>
          </a:xfrm>
        </p:spPr>
        <p:txBody>
          <a:bodyPr vert="horz"/>
          <a:lstStyle/>
          <a:p>
            <a:r>
              <a:rPr lang="en-IE"/>
              <a:t>Corporates are providing funding to support their supply chains…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28E9656-D9E6-49DB-BC01-F04D097F9192}"/>
              </a:ext>
            </a:extLst>
          </p:cNvPr>
          <p:cNvGrpSpPr/>
          <p:nvPr/>
        </p:nvGrpSpPr>
        <p:grpSpPr>
          <a:xfrm>
            <a:off x="664612" y="1210687"/>
            <a:ext cx="10862777" cy="4576177"/>
            <a:chOff x="664612" y="1374342"/>
            <a:chExt cx="10862777" cy="4576177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FAAEBE2E-F7CE-4521-8455-1607DE4215FF}"/>
                </a:ext>
              </a:extLst>
            </p:cNvPr>
            <p:cNvSpPr/>
            <p:nvPr/>
          </p:nvSpPr>
          <p:spPr>
            <a:xfrm>
              <a:off x="664612" y="1374342"/>
              <a:ext cx="5361711" cy="2213605"/>
            </a:xfrm>
            <a:prstGeom prst="rect">
              <a:avLst/>
            </a:prstGeom>
            <a:solidFill>
              <a:srgbClr val="F2F2F2"/>
            </a:solidFill>
            <a:ln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>
                  <a:solidFill>
                    <a:srgbClr val="002060"/>
                  </a:solidFill>
                </a:rPr>
                <a:t>Energy</a:t>
              </a:r>
              <a:endParaRPr lang="en-GB" sz="900" b="1">
                <a:solidFill>
                  <a:srgbClr val="002060"/>
                </a:solidFill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FCC37F8F-15B1-4F42-9133-386610C4FAFB}"/>
                </a:ext>
              </a:extLst>
            </p:cNvPr>
            <p:cNvSpPr/>
            <p:nvPr/>
          </p:nvSpPr>
          <p:spPr>
            <a:xfrm>
              <a:off x="664612" y="3705980"/>
              <a:ext cx="5361711" cy="2213605"/>
            </a:xfrm>
            <a:prstGeom prst="rect">
              <a:avLst/>
            </a:prstGeom>
            <a:solidFill>
              <a:srgbClr val="F2F2F2"/>
            </a:solidFill>
            <a:ln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>
                  <a:solidFill>
                    <a:srgbClr val="002060"/>
                  </a:solidFill>
                </a:rPr>
                <a:t>Agriculture and Industrial</a:t>
              </a:r>
              <a:endParaRPr lang="en-GB" sz="900" b="1">
                <a:solidFill>
                  <a:srgbClr val="002060"/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CE615BC-B878-40F3-8EC6-4136F816124A}"/>
                </a:ext>
              </a:extLst>
            </p:cNvPr>
            <p:cNvSpPr/>
            <p:nvPr/>
          </p:nvSpPr>
          <p:spPr>
            <a:xfrm>
              <a:off x="6165678" y="1374342"/>
              <a:ext cx="5361711" cy="2213605"/>
            </a:xfrm>
            <a:prstGeom prst="rect">
              <a:avLst/>
            </a:prstGeom>
            <a:solidFill>
              <a:srgbClr val="F2F2F2"/>
            </a:solidFill>
            <a:ln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>
                  <a:solidFill>
                    <a:srgbClr val="002060"/>
                  </a:solidFill>
                </a:rPr>
                <a:t>Transportation and Supply Chain</a:t>
              </a:r>
              <a:endParaRPr lang="en-GB" sz="900" b="1">
                <a:solidFill>
                  <a:srgbClr val="002060"/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7ED2D1E4-059B-465D-9ED2-C80FB37BC296}"/>
                </a:ext>
              </a:extLst>
            </p:cNvPr>
            <p:cNvSpPr/>
            <p:nvPr/>
          </p:nvSpPr>
          <p:spPr>
            <a:xfrm>
              <a:off x="6165678" y="3705980"/>
              <a:ext cx="5361711" cy="2213605"/>
            </a:xfrm>
            <a:prstGeom prst="rect">
              <a:avLst/>
            </a:prstGeom>
            <a:solidFill>
              <a:srgbClr val="F2F2F2"/>
            </a:solidFill>
            <a:ln>
              <a:solidFill>
                <a:schemeClr val="tx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>
                  <a:solidFill>
                    <a:srgbClr val="002060"/>
                  </a:solidFill>
                </a:rPr>
                <a:t>Consumer and Technology</a:t>
              </a:r>
              <a:endParaRPr lang="en-GB" sz="900" b="1">
                <a:solidFill>
                  <a:srgbClr val="002060"/>
                </a:solidFill>
              </a:endParaRP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76AEB9AA-ABCE-474A-B740-68317FB62AD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1243" y="1698242"/>
              <a:ext cx="1474643" cy="495300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31722399-AB22-4564-9108-0BA00CB2E90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15487" y="1731570"/>
              <a:ext cx="584083" cy="575556"/>
            </a:xfrm>
            <a:prstGeom prst="rect">
              <a:avLst/>
            </a:prstGeom>
          </p:spPr>
        </p:pic>
        <p:pic>
          <p:nvPicPr>
            <p:cNvPr id="48" name="Picture 5">
              <a:extLst>
                <a:ext uri="{FF2B5EF4-FFF2-40B4-BE49-F238E27FC236}">
                  <a16:creationId xmlns:a16="http://schemas.microsoft.com/office/drawing/2014/main" id="{3B5A5450-71D9-4158-8F81-157EEC5CA1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0596" y="1826238"/>
              <a:ext cx="1328737" cy="3198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2081E845-F8F3-4E5F-BF55-EB63E3EE7C2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145482" y="2746983"/>
              <a:ext cx="1066164" cy="352885"/>
            </a:xfrm>
            <a:prstGeom prst="rect">
              <a:avLst/>
            </a:prstGeom>
          </p:spPr>
        </p:pic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9975122A-2062-480A-BCFA-A767EBD677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58285" y="2760014"/>
              <a:ext cx="1047750" cy="326821"/>
            </a:xfrm>
            <a:prstGeom prst="rect">
              <a:avLst/>
            </a:prstGeom>
          </p:spPr>
        </p:pic>
        <p:pic>
          <p:nvPicPr>
            <p:cNvPr id="51" name="Picture 9">
              <a:extLst>
                <a:ext uri="{FF2B5EF4-FFF2-40B4-BE49-F238E27FC236}">
                  <a16:creationId xmlns:a16="http://schemas.microsoft.com/office/drawing/2014/main" id="{8B9CF40A-C25D-4024-AFD6-C6AE79F127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60712" y="2772519"/>
              <a:ext cx="412963" cy="3018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2" name="Text Placeholder 13">
              <a:extLst>
                <a:ext uri="{FF2B5EF4-FFF2-40B4-BE49-F238E27FC236}">
                  <a16:creationId xmlns:a16="http://schemas.microsoft.com/office/drawing/2014/main" id="{DC9AFE0D-EC23-4DBD-BA57-6AD61F14EA34}"/>
                </a:ext>
              </a:extLst>
            </p:cNvPr>
            <p:cNvSpPr txBox="1">
              <a:spLocks/>
            </p:cNvSpPr>
            <p:nvPr/>
          </p:nvSpPr>
          <p:spPr>
            <a:xfrm>
              <a:off x="685725" y="1399729"/>
              <a:ext cx="5318835" cy="27432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tx2"/>
              </a:solidFill>
            </a:ln>
          </p:spPr>
          <p:txBody>
            <a:bodyPr vert="horz" lIns="54000" tIns="54000" rIns="54000" bIns="5400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defRPr sz="15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288000" indent="-28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—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432000" indent="-144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720000" indent="-28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—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864000" indent="-144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5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1152000" indent="-28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—"/>
                <a:defRPr sz="15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1296000" indent="-144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5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200"/>
                <a:t>Energy</a:t>
              </a:r>
            </a:p>
          </p:txBody>
        </p:sp>
        <p:sp>
          <p:nvSpPr>
            <p:cNvPr id="53" name="Text Placeholder 13">
              <a:extLst>
                <a:ext uri="{FF2B5EF4-FFF2-40B4-BE49-F238E27FC236}">
                  <a16:creationId xmlns:a16="http://schemas.microsoft.com/office/drawing/2014/main" id="{090452F7-BE6F-4E51-A3A5-EB6EA5F8EF18}"/>
                </a:ext>
              </a:extLst>
            </p:cNvPr>
            <p:cNvSpPr txBox="1">
              <a:spLocks/>
            </p:cNvSpPr>
            <p:nvPr/>
          </p:nvSpPr>
          <p:spPr>
            <a:xfrm>
              <a:off x="685725" y="3736739"/>
              <a:ext cx="5321808" cy="27432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tx2"/>
              </a:solidFill>
            </a:ln>
          </p:spPr>
          <p:txBody>
            <a:bodyPr vert="horz" lIns="54000" tIns="54000" rIns="54000" bIns="5400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defRPr sz="15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288000" indent="-28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—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432000" indent="-144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720000" indent="-28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—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864000" indent="-144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5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1152000" indent="-28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—"/>
                <a:defRPr sz="15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1296000" indent="-144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5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200"/>
                <a:t>Agriculture and Industrial</a:t>
              </a:r>
            </a:p>
          </p:txBody>
        </p:sp>
        <p:sp>
          <p:nvSpPr>
            <p:cNvPr id="54" name="Text Placeholder 13">
              <a:extLst>
                <a:ext uri="{FF2B5EF4-FFF2-40B4-BE49-F238E27FC236}">
                  <a16:creationId xmlns:a16="http://schemas.microsoft.com/office/drawing/2014/main" id="{720D5976-86C6-4C4D-9486-8DDF430FA8C8}"/>
                </a:ext>
              </a:extLst>
            </p:cNvPr>
            <p:cNvSpPr txBox="1">
              <a:spLocks/>
            </p:cNvSpPr>
            <p:nvPr/>
          </p:nvSpPr>
          <p:spPr>
            <a:xfrm>
              <a:off x="6186791" y="1399729"/>
              <a:ext cx="5321808" cy="27432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tx2"/>
              </a:solidFill>
            </a:ln>
          </p:spPr>
          <p:txBody>
            <a:bodyPr vert="horz" lIns="54000" tIns="54000" rIns="54000" bIns="5400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defRPr sz="15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288000" indent="-28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—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432000" indent="-144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720000" indent="-28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—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864000" indent="-144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5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1152000" indent="-28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—"/>
                <a:defRPr sz="15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1296000" indent="-144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5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200" b="1"/>
                <a:t>Transportation and Supply Chain</a:t>
              </a:r>
              <a:endParaRPr lang="en-GB" sz="900" b="1"/>
            </a:p>
          </p:txBody>
        </p:sp>
        <p:sp>
          <p:nvSpPr>
            <p:cNvPr id="55" name="Text Placeholder 13">
              <a:extLst>
                <a:ext uri="{FF2B5EF4-FFF2-40B4-BE49-F238E27FC236}">
                  <a16:creationId xmlns:a16="http://schemas.microsoft.com/office/drawing/2014/main" id="{6E08AB36-5FB5-452A-9C82-EC7DF2F122AF}"/>
                </a:ext>
              </a:extLst>
            </p:cNvPr>
            <p:cNvSpPr txBox="1">
              <a:spLocks/>
            </p:cNvSpPr>
            <p:nvPr/>
          </p:nvSpPr>
          <p:spPr>
            <a:xfrm>
              <a:off x="6186791" y="3736739"/>
              <a:ext cx="5321808" cy="27432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tx2"/>
              </a:solidFill>
            </a:ln>
          </p:spPr>
          <p:txBody>
            <a:bodyPr vert="horz" lIns="54000" tIns="54000" rIns="54000" bIns="5400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defRPr sz="15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288000" indent="-28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—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432000" indent="-144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720000" indent="-28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—"/>
                <a:defRPr sz="1400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864000" indent="-144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5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1152000" indent="-28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—"/>
                <a:defRPr sz="15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7pPr>
              <a:lvl8pPr marL="1296000" indent="-144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-"/>
                <a:defRPr sz="15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407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Consumer and Technology</a:t>
              </a:r>
              <a:endParaRPr kumimoji="0" lang="en-GB" sz="9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D975EC18-D426-44A4-B972-DC3DF605C4D8}"/>
                </a:ext>
              </a:extLst>
            </p:cNvPr>
            <p:cNvSpPr txBox="1"/>
            <p:nvPr/>
          </p:nvSpPr>
          <p:spPr>
            <a:xfrm>
              <a:off x="1000761" y="2241928"/>
              <a:ext cx="1474643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To increase investment in Low-Carbon energy from $500M per year to $5B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6AC817CE-B1E7-4D0C-BA20-338AC722B565}"/>
                </a:ext>
              </a:extLst>
            </p:cNvPr>
            <p:cNvSpPr txBox="1"/>
            <p:nvPr/>
          </p:nvSpPr>
          <p:spPr>
            <a:xfrm>
              <a:off x="2608145" y="2241928"/>
              <a:ext cx="1474643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Expects to invest &gt;$10B between 2021 to 2028 in Low-Carbon intensity projects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C1E171EB-C343-4373-9F80-532403AB43C2}"/>
                </a:ext>
              </a:extLst>
            </p:cNvPr>
            <p:cNvSpPr txBox="1"/>
            <p:nvPr/>
          </p:nvSpPr>
          <p:spPr>
            <a:xfrm>
              <a:off x="4290596" y="2241928"/>
              <a:ext cx="1474643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Invests up to $10M in energy technology companies through its venture arm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659E0D3C-F532-4AEE-91FD-F70DD1847819}"/>
                </a:ext>
              </a:extLst>
            </p:cNvPr>
            <p:cNvSpPr txBox="1"/>
            <p:nvPr/>
          </p:nvSpPr>
          <p:spPr>
            <a:xfrm>
              <a:off x="1000761" y="3108927"/>
              <a:ext cx="1474643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Eni invests in decarbonization projects and startups through its corporate venture arm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D67CA08D-D26A-4BC4-AFF9-513F50549356}"/>
                </a:ext>
              </a:extLst>
            </p:cNvPr>
            <p:cNvSpPr txBox="1"/>
            <p:nvPr/>
          </p:nvSpPr>
          <p:spPr>
            <a:xfrm>
              <a:off x="2570534" y="3108927"/>
              <a:ext cx="1549864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Launched a $1.4B fund in Nov-21 to fund energy transition start-ups and scale-ups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EC025B79-38BD-4E94-B331-EA3C5849EB73}"/>
                </a:ext>
              </a:extLst>
            </p:cNvPr>
            <p:cNvSpPr txBox="1"/>
            <p:nvPr/>
          </p:nvSpPr>
          <p:spPr>
            <a:xfrm>
              <a:off x="4188777" y="3108927"/>
              <a:ext cx="1678281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Launched a dedicated $400M energy transition fund in Oct-19 to invest in Low-Carbon technologies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3560E78C-0EF1-4176-8617-94E64DF1B3FE}"/>
                </a:ext>
              </a:extLst>
            </p:cNvPr>
            <p:cNvSpPr txBox="1"/>
            <p:nvPr/>
          </p:nvSpPr>
          <p:spPr>
            <a:xfrm>
              <a:off x="947574" y="4588220"/>
              <a:ext cx="1581017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Has invested $300M already in </a:t>
              </a:r>
              <a:r>
                <a:rPr lang="en-US" sz="800" err="1">
                  <a:solidFill>
                    <a:schemeClr val="tx2"/>
                  </a:solidFill>
                </a:rPr>
                <a:t>agritech</a:t>
              </a:r>
              <a:r>
                <a:rPr lang="en-US" sz="800">
                  <a:solidFill>
                    <a:schemeClr val="tx2"/>
                  </a:solidFill>
                </a:rPr>
                <a:t>-related technologies; plans to invest $250M more in the next decade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232D02AE-0259-4BB7-8588-0E1C85D66BC8}"/>
                </a:ext>
              </a:extLst>
            </p:cNvPr>
            <p:cNvSpPr txBox="1"/>
            <p:nvPr/>
          </p:nvSpPr>
          <p:spPr>
            <a:xfrm>
              <a:off x="2501773" y="4588220"/>
              <a:ext cx="1581016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Venture arm of BHP, investing in decarbonization and sustainable resource extraction strategies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2EE52292-4802-4C8C-92F5-2944F9E3BBD1}"/>
                </a:ext>
              </a:extLst>
            </p:cNvPr>
            <p:cNvSpPr txBox="1"/>
            <p:nvPr/>
          </p:nvSpPr>
          <p:spPr>
            <a:xfrm>
              <a:off x="4290596" y="4588220"/>
              <a:ext cx="1474643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Venture arm of Caterpillar, investing in energy solutions, digital products, robotics, and advanced materials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01096526-04C0-414C-8F0F-8EB854914CE9}"/>
                </a:ext>
              </a:extLst>
            </p:cNvPr>
            <p:cNvSpPr txBox="1"/>
            <p:nvPr/>
          </p:nvSpPr>
          <p:spPr>
            <a:xfrm>
              <a:off x="847318" y="5455219"/>
              <a:ext cx="1781529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To invest $60M annually under its Future in Action program designed to reduce its carbon footprint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439FE20D-9146-47C0-BCF4-3E8E76A8A788}"/>
                </a:ext>
              </a:extLst>
            </p:cNvPr>
            <p:cNvSpPr txBox="1"/>
            <p:nvPr/>
          </p:nvSpPr>
          <p:spPr>
            <a:xfrm>
              <a:off x="2463521" y="5455219"/>
              <a:ext cx="1763890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Venture arm of Sumitomo – has invested &gt;$200M in technologies disrupting the green industrial sector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AB570F6E-51E1-4284-8BCC-C3C9CB7D8CE2}"/>
                </a:ext>
              </a:extLst>
            </p:cNvPr>
            <p:cNvSpPr txBox="1"/>
            <p:nvPr/>
          </p:nvSpPr>
          <p:spPr>
            <a:xfrm>
              <a:off x="4171910" y="5455219"/>
              <a:ext cx="1712015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ArcelorMittal venture arm launched in Mar-21 to invest $100M in net zero carbon steelmaking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CDFECBAD-678F-4A11-9A4B-41D950923D4A}"/>
                </a:ext>
              </a:extLst>
            </p:cNvPr>
            <p:cNvSpPr txBox="1"/>
            <p:nvPr/>
          </p:nvSpPr>
          <p:spPr>
            <a:xfrm>
              <a:off x="6495991" y="2241928"/>
              <a:ext cx="1474643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Launched a $150M initial fund in 2015 to invest in mobility technologies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B0BF1291-F2B1-4D12-9613-17019B76629B}"/>
                </a:ext>
              </a:extLst>
            </p:cNvPr>
            <p:cNvSpPr txBox="1"/>
            <p:nvPr/>
          </p:nvSpPr>
          <p:spPr>
            <a:xfrm>
              <a:off x="7999038" y="2241928"/>
              <a:ext cx="1645212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Combined capital of $900M in two funds to invest in sustainable transportation technologies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01B8BF45-F65E-45F9-BDAF-1A9410E1CA8A}"/>
                </a:ext>
              </a:extLst>
            </p:cNvPr>
            <p:cNvSpPr txBox="1"/>
            <p:nvPr/>
          </p:nvSpPr>
          <p:spPr>
            <a:xfrm>
              <a:off x="9700541" y="2241928"/>
              <a:ext cx="1645212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Venture arm of JetBlue, investing in early-stage startups catering to sustainable transportation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F93F0969-7E08-4D42-B462-713AC25902E1}"/>
                </a:ext>
              </a:extLst>
            </p:cNvPr>
            <p:cNvSpPr txBox="1"/>
            <p:nvPr/>
          </p:nvSpPr>
          <p:spPr>
            <a:xfrm>
              <a:off x="6266928" y="3108927"/>
              <a:ext cx="1729134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Maersk Growth is the VC arm of A. P. Moller – Maersk with the mission to decarbonize supply chains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69776B67-78DB-450E-8936-1DDFFDC3C928}"/>
                </a:ext>
              </a:extLst>
            </p:cNvPr>
            <p:cNvSpPr txBox="1"/>
            <p:nvPr/>
          </p:nvSpPr>
          <p:spPr>
            <a:xfrm>
              <a:off x="7949932" y="3108927"/>
              <a:ext cx="1783347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Launched Alliance Ventures in 2018 to invest up to $1B in five years in EV and sustainable mobility 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795FD5BF-78D9-41F3-8F78-E4C691F0A177}"/>
                </a:ext>
              </a:extLst>
            </p:cNvPr>
            <p:cNvSpPr txBox="1"/>
            <p:nvPr/>
          </p:nvSpPr>
          <p:spPr>
            <a:xfrm>
              <a:off x="9686026" y="3108927"/>
              <a:ext cx="1676262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Launched a $350M fund to invest in decarbonization projects and start-ups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EFA68E53-3E05-452E-8479-8868256B63EA}"/>
                </a:ext>
              </a:extLst>
            </p:cNvPr>
            <p:cNvSpPr txBox="1"/>
            <p:nvPr/>
          </p:nvSpPr>
          <p:spPr>
            <a:xfrm>
              <a:off x="6495991" y="4588220"/>
              <a:ext cx="1474643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Launched the $200M Restore Fund in Apr-21 to fund carbon removal technologies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FAD3F36-C8BA-4860-8AF4-ECFF91072C58}"/>
                </a:ext>
              </a:extLst>
            </p:cNvPr>
            <p:cNvSpPr txBox="1"/>
            <p:nvPr/>
          </p:nvSpPr>
          <p:spPr>
            <a:xfrm>
              <a:off x="8103375" y="4588220"/>
              <a:ext cx="1474643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Launched The Climate Pledge Fund to invest an initial $2B in Low-Carbon solutions providers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FB64BDBE-7455-4DBC-913D-268B72C639BF}"/>
                </a:ext>
              </a:extLst>
            </p:cNvPr>
            <p:cNvSpPr txBox="1"/>
            <p:nvPr/>
          </p:nvSpPr>
          <p:spPr>
            <a:xfrm>
              <a:off x="9785826" y="4588220"/>
              <a:ext cx="1474643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Plans to spend €1B on climate programs over the next five years to reduce greenhouse gas emissions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3D0AA84C-AF55-43FB-A3A8-4DCEA8F77DE9}"/>
                </a:ext>
              </a:extLst>
            </p:cNvPr>
            <p:cNvSpPr txBox="1"/>
            <p:nvPr/>
          </p:nvSpPr>
          <p:spPr>
            <a:xfrm>
              <a:off x="6495991" y="5455219"/>
              <a:ext cx="1474643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Invests in climate innovation solutions through its $1B Climate Innovation Fund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863036B0-E24C-4C0D-84A8-7F3C670919AE}"/>
                </a:ext>
              </a:extLst>
            </p:cNvPr>
            <p:cNvSpPr txBox="1"/>
            <p:nvPr/>
          </p:nvSpPr>
          <p:spPr>
            <a:xfrm>
              <a:off x="8065764" y="5455219"/>
              <a:ext cx="1549864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In 2021, announced $300M in grants to technologies involved in reforestation 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2DA464E9-3232-47A2-A293-FBCC7929D5CD}"/>
                </a:ext>
              </a:extLst>
            </p:cNvPr>
            <p:cNvSpPr txBox="1"/>
            <p:nvPr/>
          </p:nvSpPr>
          <p:spPr>
            <a:xfrm>
              <a:off x="9568128" y="5455219"/>
              <a:ext cx="1910039" cy="495300"/>
            </a:xfrm>
            <a:prstGeom prst="rect">
              <a:avLst/>
            </a:prstGeom>
            <a:noFill/>
          </p:spPr>
          <p:txBody>
            <a:bodyPr wrap="square" lIns="54610" tIns="54610" rIns="54610" bIns="54610" rtlCol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800">
                  <a:solidFill>
                    <a:schemeClr val="tx2"/>
                  </a:solidFill>
                </a:rPr>
                <a:t>Launched a €1B Climate &amp; Nature Fund to invest in landscape restoration, reforestation, and carbon sequestration </a:t>
              </a:r>
            </a:p>
          </p:txBody>
        </p:sp>
        <p:pic>
          <p:nvPicPr>
            <p:cNvPr id="80" name="Picture 12">
              <a:extLst>
                <a:ext uri="{FF2B5EF4-FFF2-40B4-BE49-F238E27FC236}">
                  <a16:creationId xmlns:a16="http://schemas.microsoft.com/office/drawing/2014/main" id="{87F45228-0F2F-4A84-BC2E-E991DFD7EE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42171" y="1603753"/>
              <a:ext cx="838200" cy="838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" name="Picture 15">
              <a:extLst>
                <a:ext uri="{FF2B5EF4-FFF2-40B4-BE49-F238E27FC236}">
                  <a16:creationId xmlns:a16="http://schemas.microsoft.com/office/drawing/2014/main" id="{B2750AD0-7547-4929-A8DD-D3228F7C49A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65764" y="1963567"/>
              <a:ext cx="1698368" cy="2333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DE97598B-9D6B-4474-B2C7-F7446432C4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90821" y="1947742"/>
              <a:ext cx="939130" cy="309316"/>
            </a:xfrm>
            <a:prstGeom prst="rect">
              <a:avLst/>
            </a:prstGeom>
          </p:spPr>
        </p:pic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89E0E790-03BB-4848-9E5D-23D2975911C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25937" y="2807798"/>
              <a:ext cx="1011115" cy="285750"/>
            </a:xfrm>
            <a:prstGeom prst="rect">
              <a:avLst/>
            </a:prstGeom>
          </p:spPr>
        </p:pic>
        <p:pic>
          <p:nvPicPr>
            <p:cNvPr id="84" name="Picture 83">
              <a:extLst>
                <a:ext uri="{FF2B5EF4-FFF2-40B4-BE49-F238E27FC236}">
                  <a16:creationId xmlns:a16="http://schemas.microsoft.com/office/drawing/2014/main" id="{7F974166-50E4-4645-A9C8-18872775B9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75128" y="2731036"/>
              <a:ext cx="510412" cy="424815"/>
            </a:xfrm>
            <a:prstGeom prst="rect">
              <a:avLst/>
            </a:prstGeom>
          </p:spPr>
        </p:pic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8BCC979C-7CB6-4E3C-830B-191C1953B0C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6667" y="2628606"/>
              <a:ext cx="1162624" cy="548715"/>
            </a:xfrm>
            <a:prstGeom prst="rect">
              <a:avLst/>
            </a:prstGeom>
          </p:spPr>
        </p:pic>
        <p:pic>
          <p:nvPicPr>
            <p:cNvPr id="86" name="Picture 22">
              <a:extLst>
                <a:ext uri="{FF2B5EF4-FFF2-40B4-BE49-F238E27FC236}">
                  <a16:creationId xmlns:a16="http://schemas.microsoft.com/office/drawing/2014/main" id="{D4A2740A-F4FF-4047-9AA3-28DF7B3D0F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9307" y="4173727"/>
              <a:ext cx="717550" cy="358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7" name="Picture 86">
              <a:extLst>
                <a:ext uri="{FF2B5EF4-FFF2-40B4-BE49-F238E27FC236}">
                  <a16:creationId xmlns:a16="http://schemas.microsoft.com/office/drawing/2014/main" id="{3F91F63C-79DB-42DA-BD93-77533E497F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07877" y="4229308"/>
              <a:ext cx="599301" cy="293997"/>
            </a:xfrm>
            <a:prstGeom prst="rect">
              <a:avLst/>
            </a:prstGeom>
          </p:spPr>
        </p:pic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F883A01B-056B-4910-9F5C-4E370727605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18198" y="4262036"/>
              <a:ext cx="992639" cy="227975"/>
            </a:xfrm>
            <a:prstGeom prst="rect">
              <a:avLst/>
            </a:prstGeom>
          </p:spPr>
        </p:pic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38047426-08C2-4E15-B96E-FDDC020B6D8E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262883" y="5170832"/>
              <a:ext cx="861436" cy="308681"/>
            </a:xfrm>
            <a:prstGeom prst="rect">
              <a:avLst/>
            </a:prstGeom>
          </p:spPr>
        </p:pic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B82F583B-A8B9-426F-9FDB-F8D2C5C6FE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59160" y="5169950"/>
              <a:ext cx="960713" cy="309563"/>
            </a:xfrm>
            <a:prstGeom prst="rect">
              <a:avLst/>
            </a:prstGeom>
          </p:spPr>
        </p:pic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8370CBE9-1BBD-4DB3-BFE8-650D4C333A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44885" y="5201553"/>
              <a:ext cx="644615" cy="230987"/>
            </a:xfrm>
            <a:prstGeom prst="rect">
              <a:avLst/>
            </a:prstGeom>
          </p:spPr>
        </p:pic>
        <p:pic>
          <p:nvPicPr>
            <p:cNvPr id="92" name="Picture 91">
              <a:extLst>
                <a:ext uri="{FF2B5EF4-FFF2-40B4-BE49-F238E27FC236}">
                  <a16:creationId xmlns:a16="http://schemas.microsoft.com/office/drawing/2014/main" id="{C897C6F0-6685-49B4-8881-BB54E73297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screen">
              <a:clrChange>
                <a:clrFrom>
                  <a:srgbClr val="F7F7F7"/>
                </a:clrFrom>
                <a:clrTo>
                  <a:srgbClr val="F7F7F7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05116" y="4113547"/>
              <a:ext cx="498475" cy="505915"/>
            </a:xfrm>
            <a:prstGeom prst="rect">
              <a:avLst/>
            </a:prstGeom>
          </p:spPr>
        </p:pic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133EBB74-5A37-418F-80B0-0A5D0FDB6C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326965" y="4191143"/>
              <a:ext cx="982028" cy="383230"/>
            </a:xfrm>
            <a:prstGeom prst="rect">
              <a:avLst/>
            </a:prstGeom>
          </p:spPr>
        </p:pic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EFE00684-0480-435C-869F-F4C4D98621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screen">
              <a:clrChange>
                <a:clrFrom>
                  <a:srgbClr val="F7F7F7"/>
                </a:clrFrom>
                <a:clrTo>
                  <a:srgbClr val="F7F7F7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16515" y="4203383"/>
              <a:ext cx="708495" cy="322898"/>
            </a:xfrm>
            <a:prstGeom prst="rect">
              <a:avLst/>
            </a:prstGeom>
          </p:spPr>
        </p:pic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id="{0404BB54-49E0-4F71-9A34-3EB097FDD1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58864" y="5075149"/>
              <a:ext cx="404813" cy="409576"/>
            </a:xfrm>
            <a:prstGeom prst="rect">
              <a:avLst/>
            </a:prstGeom>
          </p:spPr>
        </p:pic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C6CE8E32-3195-436E-9B2A-2CC6AF5476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461665" y="5143569"/>
              <a:ext cx="792102" cy="346954"/>
            </a:xfrm>
            <a:prstGeom prst="rect">
              <a:avLst/>
            </a:prstGeom>
          </p:spPr>
        </p:pic>
        <p:pic>
          <p:nvPicPr>
            <p:cNvPr id="97" name="Picture 96">
              <a:extLst>
                <a:ext uri="{FF2B5EF4-FFF2-40B4-BE49-F238E27FC236}">
                  <a16:creationId xmlns:a16="http://schemas.microsoft.com/office/drawing/2014/main" id="{C1E1DADD-6774-4596-907D-27AA9C0CB5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screen">
              <a:clrChange>
                <a:clrFrom>
                  <a:srgbClr val="F7F7F7"/>
                </a:clrFrom>
                <a:clrTo>
                  <a:srgbClr val="F7F7F7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74341" y="5161535"/>
              <a:ext cx="339275" cy="3263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010157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F86912-765A-4389-8E6F-7DA72E71AE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Biomethane Funding Options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7E15A900-C173-4764-ABD2-D25874E12EF1}"/>
              </a:ext>
            </a:extLst>
          </p:cNvPr>
          <p:cNvSpPr/>
          <p:nvPr/>
        </p:nvSpPr>
        <p:spPr>
          <a:xfrm>
            <a:off x="1745972" y="4032324"/>
            <a:ext cx="2778598" cy="781673"/>
          </a:xfrm>
          <a:prstGeom prst="roundRect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IE" sz="2000" b="1">
                <a:solidFill>
                  <a:schemeClr val="bg1"/>
                </a:solidFill>
              </a:rPr>
              <a:t>Debt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5DAF962-F3C4-41FC-BC99-2EBBA5C96510}"/>
              </a:ext>
            </a:extLst>
          </p:cNvPr>
          <p:cNvSpPr/>
          <p:nvPr/>
        </p:nvSpPr>
        <p:spPr>
          <a:xfrm>
            <a:off x="4739897" y="4033940"/>
            <a:ext cx="2778598" cy="781673"/>
          </a:xfrm>
          <a:prstGeom prst="roundRect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IE" sz="2000" b="1">
                <a:solidFill>
                  <a:schemeClr val="bg1"/>
                </a:solidFill>
              </a:rPr>
              <a:t>Equity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A0D4E42-D2FC-4FE4-83A4-342FC79D9D4C}"/>
              </a:ext>
            </a:extLst>
          </p:cNvPr>
          <p:cNvSpPr/>
          <p:nvPr/>
        </p:nvSpPr>
        <p:spPr>
          <a:xfrm>
            <a:off x="7733822" y="4044208"/>
            <a:ext cx="2778598" cy="781673"/>
          </a:xfrm>
          <a:prstGeom prst="roundRect">
            <a:avLst/>
          </a:prstGeom>
          <a:solidFill>
            <a:schemeClr val="tx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IE" sz="2000" b="1">
                <a:solidFill>
                  <a:schemeClr val="bg1"/>
                </a:solidFill>
              </a:rPr>
              <a:t>Grant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C8ACF9D-5073-42EF-924E-8D8FF6D3BD85}"/>
              </a:ext>
            </a:extLst>
          </p:cNvPr>
          <p:cNvSpPr/>
          <p:nvPr/>
        </p:nvSpPr>
        <p:spPr>
          <a:xfrm>
            <a:off x="2979199" y="5150215"/>
            <a:ext cx="5944810" cy="436627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IE" sz="2000" b="1">
                <a:solidFill>
                  <a:schemeClr val="bg1"/>
                </a:solidFill>
              </a:rPr>
              <a:t>Energy Route-To-Market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B716B2A-2A7C-43F7-982B-26A6F4BB875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822" y="1714526"/>
            <a:ext cx="2229116" cy="120424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15875">
            <a:solidFill>
              <a:schemeClr val="tx2"/>
            </a:solidFill>
          </a:ln>
          <a:effectLst/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377B440-0AF7-42F7-8A33-D4F5AA891008}"/>
              </a:ext>
            </a:extLst>
          </p:cNvPr>
          <p:cNvSpPr txBox="1"/>
          <p:nvPr/>
        </p:nvSpPr>
        <p:spPr>
          <a:xfrm>
            <a:off x="1426616" y="2932410"/>
            <a:ext cx="1663390" cy="19504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/>
            <a:r>
              <a:rPr lang="en-IE" sz="1100" b="1">
                <a:solidFill>
                  <a:schemeClr val="tx2"/>
                </a:solidFill>
              </a:rPr>
              <a:t>NI 0.5MW AD Plan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FECA352-7098-4C13-B13A-781FEDAE942D}"/>
              </a:ext>
            </a:extLst>
          </p:cNvPr>
          <p:cNvSpPr txBox="1"/>
          <p:nvPr/>
        </p:nvSpPr>
        <p:spPr>
          <a:xfrm>
            <a:off x="3520363" y="1781681"/>
            <a:ext cx="2778598" cy="91993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marL="171450" indent="-171450">
              <a:spcAft>
                <a:spcPts val="6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en-IE" sz="1200"/>
              <a:t>500kW on-farm AD plant</a:t>
            </a:r>
          </a:p>
          <a:p>
            <a:pPr marL="171450" indent="-171450">
              <a:spcAft>
                <a:spcPts val="6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en-IE" sz="1200"/>
              <a:t>c.£3m development cost</a:t>
            </a:r>
          </a:p>
          <a:p>
            <a:pPr marL="171450" indent="-171450">
              <a:spcAft>
                <a:spcPts val="6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en-IE" sz="1200"/>
              <a:t>Funded by various UK infrastructure fund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9B8B986-5D50-4AED-B10C-E52C12E7656C}"/>
              </a:ext>
            </a:extLst>
          </p:cNvPr>
          <p:cNvSpPr/>
          <p:nvPr/>
        </p:nvSpPr>
        <p:spPr>
          <a:xfrm>
            <a:off x="998400" y="1096372"/>
            <a:ext cx="5203026" cy="41795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IE" sz="1500" b="1">
                <a:solidFill>
                  <a:schemeClr val="bg1"/>
                </a:solidFill>
              </a:rPr>
              <a:t>Farm-Scale Plants</a:t>
            </a:r>
          </a:p>
        </p:txBody>
      </p:sp>
      <p:pic>
        <p:nvPicPr>
          <p:cNvPr id="22" name="Picture 8">
            <a:extLst>
              <a:ext uri="{FF2B5EF4-FFF2-40B4-BE49-F238E27FC236}">
                <a16:creationId xmlns:a16="http://schemas.microsoft.com/office/drawing/2014/main" id="{0B9B59C3-32FC-42F4-866C-588902E7AB1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40003" y="1706196"/>
            <a:ext cx="2244550" cy="114641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15875">
            <a:solidFill>
              <a:schemeClr val="tx2"/>
            </a:solidFill>
          </a:ln>
          <a:effectLst/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9D710AC-4F8D-4C37-A96B-24440493F00C}"/>
              </a:ext>
            </a:extLst>
          </p:cNvPr>
          <p:cNvSpPr txBox="1"/>
          <p:nvPr/>
        </p:nvSpPr>
        <p:spPr>
          <a:xfrm>
            <a:off x="8982979" y="1667658"/>
            <a:ext cx="2778598" cy="91993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marL="171450" indent="-171450">
              <a:spcAft>
                <a:spcPts val="6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en-IE" sz="1200"/>
              <a:t>World’s first 100% poultry litter AD plant</a:t>
            </a:r>
          </a:p>
          <a:p>
            <a:pPr marL="171450" indent="-171450">
              <a:spcAft>
                <a:spcPts val="6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en-IE" sz="1200"/>
              <a:t>c.£20m development cost</a:t>
            </a:r>
          </a:p>
          <a:p>
            <a:pPr marL="171450" indent="-171450">
              <a:spcAft>
                <a:spcPts val="6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r>
              <a:rPr lang="en-IE" sz="1200"/>
              <a:t>Funded by infrastructure fund, alongside </a:t>
            </a:r>
            <a:r>
              <a:rPr lang="en-IE" sz="1200" err="1"/>
              <a:t>InvestNI</a:t>
            </a:r>
            <a:endParaRPr lang="en-IE" sz="1200"/>
          </a:p>
          <a:p>
            <a:pPr marL="171450" indent="-171450">
              <a:spcAft>
                <a:spcPts val="600"/>
              </a:spcAft>
              <a:buClr>
                <a:srgbClr val="00338D"/>
              </a:buClr>
              <a:buFont typeface="Wingdings" panose="05000000000000000000" pitchFamily="2" charset="2"/>
              <a:buChar char="§"/>
            </a:pPr>
            <a:endParaRPr lang="en-IE" sz="105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CA48D8D-4741-4B21-BA6F-B9CEC882FD47}"/>
              </a:ext>
            </a:extLst>
          </p:cNvPr>
          <p:cNvSpPr/>
          <p:nvPr/>
        </p:nvSpPr>
        <p:spPr>
          <a:xfrm>
            <a:off x="6599975" y="1098450"/>
            <a:ext cx="5060673" cy="41795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IE" sz="1500" b="1">
                <a:solidFill>
                  <a:schemeClr val="bg1"/>
                </a:solidFill>
              </a:rPr>
              <a:t>Industrial-Scale Plant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BF6C596-97CB-4167-B15C-B605156CC8A9}"/>
              </a:ext>
            </a:extLst>
          </p:cNvPr>
          <p:cNvSpPr txBox="1"/>
          <p:nvPr/>
        </p:nvSpPr>
        <p:spPr>
          <a:xfrm>
            <a:off x="7028873" y="2847357"/>
            <a:ext cx="1663390" cy="19504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/>
            <a:r>
              <a:rPr lang="en-IE" sz="1100" b="1">
                <a:solidFill>
                  <a:schemeClr val="tx2"/>
                </a:solidFill>
              </a:rPr>
              <a:t>NI 3.0 MW AD Plant</a:t>
            </a:r>
          </a:p>
        </p:txBody>
      </p:sp>
    </p:spTree>
    <p:extLst>
      <p:ext uri="{BB962C8B-B14F-4D97-AF65-F5344CB8AC3E}">
        <p14:creationId xmlns:p14="http://schemas.microsoft.com/office/powerpoint/2010/main" val="395631894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CC7E3E-8573-4681-8872-7E8F73AC1F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Conclusion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481E598-5191-4750-8D65-DCEEFBD601A5}"/>
              </a:ext>
            </a:extLst>
          </p:cNvPr>
          <p:cNvSpPr/>
          <p:nvPr/>
        </p:nvSpPr>
        <p:spPr>
          <a:xfrm>
            <a:off x="919289" y="997565"/>
            <a:ext cx="9935816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IE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E" sz="1600" dirty="0">
                <a:solidFill>
                  <a:srgbClr val="000000"/>
                </a:solidFill>
                <a:latin typeface="Arial" panose="020B0604020202020204" pitchFamily="34" charset="0"/>
              </a:rPr>
              <a:t>Biomethane is an essential component of </a:t>
            </a:r>
            <a:r>
              <a:rPr lang="en-IE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RoI’s</a:t>
            </a:r>
            <a:r>
              <a:rPr lang="en-IE" sz="1600" dirty="0">
                <a:solidFill>
                  <a:srgbClr val="000000"/>
                </a:solidFill>
                <a:latin typeface="Arial" panose="020B0604020202020204" pitchFamily="34" charset="0"/>
              </a:rPr>
              <a:t> decarbonisation pathway, with strong demand from industry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IE" sz="16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E" sz="1600" dirty="0">
                <a:solidFill>
                  <a:srgbClr val="000000"/>
                </a:solidFill>
                <a:latin typeface="Arial" panose="020B0604020202020204" pitchFamily="34" charset="0"/>
              </a:rPr>
              <a:t>Biomethane has the potential to decarbonise some of the hardest to abate carbon emitting processes at the lowest cost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IE" sz="16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E" sz="1600" dirty="0">
                <a:solidFill>
                  <a:srgbClr val="000000"/>
                </a:solidFill>
                <a:latin typeface="Arial" panose="020B0604020202020204" pitchFamily="34" charset="0"/>
              </a:rPr>
              <a:t>Policy, demand &amp; environmental factors are now aligning – few structural barriers remain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IE" sz="16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E" sz="1600" dirty="0">
                <a:solidFill>
                  <a:srgbClr val="000000"/>
                </a:solidFill>
                <a:latin typeface="Arial" panose="020B0604020202020204" pitchFamily="34" charset="0"/>
              </a:rPr>
              <a:t>Using a grass-based agricultural system, Ireland has the potential to be a major player in biomethane production, using on-farm anaerobic digestion, alongside waste fed plants;</a:t>
            </a:r>
          </a:p>
          <a:p>
            <a:endParaRPr lang="en-IE" sz="16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IE" sz="1600" dirty="0">
                <a:solidFill>
                  <a:srgbClr val="000000"/>
                </a:solidFill>
                <a:latin typeface="Arial" panose="020B0604020202020204" pitchFamily="34" charset="0"/>
              </a:rPr>
              <a:t>There is a wall of capital ready to fund the roll-out of the industry, however the sector will not develop without active policy support from the Government (incl. permitting processes) and a structured approach to asset development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IE" sz="16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endParaRPr lang="en-IE" sz="16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26561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50878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49B47-D2D9-4C54-82D8-585AB5559A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8400" y="431800"/>
            <a:ext cx="10747484" cy="533400"/>
          </a:xfrm>
        </p:spPr>
        <p:txBody>
          <a:bodyPr/>
          <a:lstStyle/>
          <a:p>
            <a:r>
              <a:rPr lang="en-IE"/>
              <a:t>Rapid growth is needed to achieve Ireland’s biomethane ambi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188364-F82C-4BD8-B64F-1F1B86F560BE}"/>
              </a:ext>
            </a:extLst>
          </p:cNvPr>
          <p:cNvSpPr txBox="1"/>
          <p:nvPr/>
        </p:nvSpPr>
        <p:spPr>
          <a:xfrm>
            <a:off x="3995952" y="1330325"/>
            <a:ext cx="4200095" cy="230832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IE" b="1"/>
              <a:t>125 x 20 GWh Plants (2.5 TWh)</a:t>
            </a:r>
          </a:p>
        </p:txBody>
      </p:sp>
      <p:graphicFrame>
        <p:nvGraphicFramePr>
          <p:cNvPr id="7" name="Chart1">
            <a:extLst>
              <a:ext uri="{FF2B5EF4-FFF2-40B4-BE49-F238E27FC236}">
                <a16:creationId xmlns:a16="http://schemas.microsoft.com/office/drawing/2014/main" id="{7832FD9C-8F05-4688-A4E1-736DDE103D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02038087"/>
              </p:ext>
            </p:extLst>
          </p:nvPr>
        </p:nvGraphicFramePr>
        <p:xfrm>
          <a:off x="1070919" y="1561156"/>
          <a:ext cx="10066638" cy="45398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A5504F3F-9CBF-44E8-ACDD-D1C969537F1C}"/>
              </a:ext>
            </a:extLst>
          </p:cNvPr>
          <p:cNvSpPr txBox="1"/>
          <p:nvPr/>
        </p:nvSpPr>
        <p:spPr>
          <a:xfrm>
            <a:off x="1839710" y="5991225"/>
            <a:ext cx="7387120" cy="28824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IE" sz="1050" b="1" dirty="0">
                <a:solidFill>
                  <a:schemeClr val="tx2"/>
                </a:solidFill>
              </a:rPr>
              <a:t>Source: Project Clover</a:t>
            </a:r>
          </a:p>
        </p:txBody>
      </p:sp>
    </p:spTree>
    <p:extLst>
      <p:ext uri="{BB962C8B-B14F-4D97-AF65-F5344CB8AC3E}">
        <p14:creationId xmlns:p14="http://schemas.microsoft.com/office/powerpoint/2010/main" val="496648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49B47-D2D9-4C54-82D8-585AB5559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Why the time is right for biomethane in Ireland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20340C92-C663-4D09-BD69-12B460934A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8493229"/>
              </p:ext>
            </p:extLst>
          </p:nvPr>
        </p:nvGraphicFramePr>
        <p:xfrm>
          <a:off x="998400" y="1052184"/>
          <a:ext cx="10463287" cy="5377375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5128080">
                  <a:extLst>
                    <a:ext uri="{9D8B030D-6E8A-4147-A177-3AD203B41FA5}">
                      <a16:colId xmlns:a16="http://schemas.microsoft.com/office/drawing/2014/main" val="757457511"/>
                    </a:ext>
                  </a:extLst>
                </a:gridCol>
                <a:gridCol w="5335207">
                  <a:extLst>
                    <a:ext uri="{9D8B030D-6E8A-4147-A177-3AD203B41FA5}">
                      <a16:colId xmlns:a16="http://schemas.microsoft.com/office/drawing/2014/main" val="197051380"/>
                    </a:ext>
                  </a:extLst>
                </a:gridCol>
              </a:tblGrid>
              <a:tr h="324584">
                <a:tc>
                  <a:txBody>
                    <a:bodyPr/>
                    <a:lstStyle/>
                    <a:p>
                      <a:r>
                        <a:rPr lang="en-IE" sz="1400" b="1">
                          <a:solidFill>
                            <a:schemeClr val="tx2"/>
                          </a:solidFill>
                        </a:rPr>
                        <a:t>Historic Challe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E" sz="1400" b="1">
                          <a:solidFill>
                            <a:schemeClr val="tx2"/>
                          </a:solidFill>
                        </a:rPr>
                        <a:t>What’s Changed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1811174"/>
                  </a:ext>
                </a:extLst>
              </a:tr>
              <a:tr h="617016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tx1"/>
                          </a:solidFill>
                        </a:rPr>
                        <a:t>Economics - focus has historically prioritised the decarbonisation of electricity due to lower abatement cost, decarbonising heat received less attention and support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tx1"/>
                          </a:solidFill>
                        </a:rPr>
                        <a:t>The need to reduce emissions from all sectors - biomethane is the lowest cost option to decarbonise many high temperature heat applications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7062092"/>
                  </a:ext>
                </a:extLst>
              </a:tr>
              <a:tr h="6636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Historically advocacy primarily from AD technology sector or developers – not a compelling option to Governmen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Industry is now demanding a supply of biomethane fuel in order to achieve their decarbonisation target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9742275"/>
                  </a:ext>
                </a:extLst>
              </a:tr>
              <a:tr h="651278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Limited regulatory pressure / Government appetit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EU has set aggressive targets for both decarbonisation of heat and the production of biomethane</a:t>
                      </a:r>
                    </a:p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Security of supply concerns has increased interes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7928092"/>
                  </a:ext>
                </a:extLst>
              </a:tr>
              <a:tr h="764958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Cautious government approach due to nervousness of impacting agri-sector dynamic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Studies have shown that Ireland has additional, untapped feedstock capacity which can assist farm-level decarbonisation and also reduce nitrogen based fertiliser usag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3714283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Government unwilling to lock into long-term subsidies to incentivise investments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he proposed Renewable Heat Obligation (RHO) scheme will provide long term support while placing no burden on Government fund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30313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Developing an new energy sector, with the risk of unintended, negative consequences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here are now over 10,000 AD plants operating across Europe, with 80 operating in NI alone.   Can work if done righ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1500312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A challenging sector to secure fund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IE" sz="1400" dirty="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Significant increase in capital chasing this sector – AD now considered a mainstream technolog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1246552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77704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49B47-D2D9-4C54-82D8-585AB5559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Biomethane is an expensive option for renewable electricity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32A47D1-319C-419C-90FC-BC186E2BD3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1398990"/>
              </p:ext>
            </p:extLst>
          </p:nvPr>
        </p:nvGraphicFramePr>
        <p:xfrm>
          <a:off x="1087958" y="1489484"/>
          <a:ext cx="10016084" cy="45017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458967186"/>
      </p:ext>
    </p:extLst>
  </p:cSld>
  <p:clrMapOvr>
    <a:masterClrMapping/>
  </p:clrMapOvr>
  <p:extLst>
    <p:ext uri="{6950BFC3-D8DA-4A85-94F7-54DA5524770B}">
      <p188:commentRel xmlns:p188="http://schemas.microsoft.com/office/powerpoint/2018/8/main" xmlns="" r:id="rId4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49B47-D2D9-4C54-82D8-585AB5559A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8400" y="431800"/>
            <a:ext cx="10888800" cy="533400"/>
          </a:xfrm>
        </p:spPr>
        <p:txBody>
          <a:bodyPr/>
          <a:lstStyle/>
          <a:p>
            <a:r>
              <a:rPr lang="en-IE"/>
              <a:t>Biomethane can be the cheapest option to decarbonise hea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981B591-D84F-400A-8937-ED6C24287EC0}"/>
              </a:ext>
            </a:extLst>
          </p:cNvPr>
          <p:cNvSpPr txBox="1"/>
          <p:nvPr/>
        </p:nvSpPr>
        <p:spPr>
          <a:xfrm>
            <a:off x="1884845" y="5876925"/>
            <a:ext cx="7387120" cy="28824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IE" sz="1050" b="1">
                <a:solidFill>
                  <a:schemeClr val="tx2"/>
                </a:solidFill>
              </a:rPr>
              <a:t>Source: KPMG Analysis, 2020 costs in Ireland</a:t>
            </a:r>
          </a:p>
        </p:txBody>
      </p:sp>
      <p:graphicFrame>
        <p:nvGraphicFramePr>
          <p:cNvPr id="6" name="Chart1">
            <a:extLst>
              <a:ext uri="{FF2B5EF4-FFF2-40B4-BE49-F238E27FC236}">
                <a16:creationId xmlns:a16="http://schemas.microsoft.com/office/drawing/2014/main" id="{A13C0343-B340-4051-A00D-0EECE94932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199190"/>
              </p:ext>
            </p:extLst>
          </p:nvPr>
        </p:nvGraphicFramePr>
        <p:xfrm>
          <a:off x="925988" y="1303876"/>
          <a:ext cx="10340024" cy="42502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43194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9F99AB-C65C-47A9-A713-C930FD064D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Recently biomethane has become cheaper than fossil ga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191785F-4D8A-4DCE-8655-AC530A7C3966}"/>
              </a:ext>
            </a:extLst>
          </p:cNvPr>
          <p:cNvGrpSpPr/>
          <p:nvPr/>
        </p:nvGrpSpPr>
        <p:grpSpPr>
          <a:xfrm>
            <a:off x="475488" y="1160981"/>
            <a:ext cx="10718112" cy="4931594"/>
            <a:chOff x="998400" y="1160981"/>
            <a:chExt cx="10195200" cy="4931594"/>
          </a:xfrm>
        </p:grpSpPr>
        <p:graphicFrame>
          <p:nvGraphicFramePr>
            <p:cNvPr id="3" name="Chart 2">
              <a:extLst>
                <a:ext uri="{FF2B5EF4-FFF2-40B4-BE49-F238E27FC236}">
                  <a16:creationId xmlns:a16="http://schemas.microsoft.com/office/drawing/2014/main" id="{15AB7FDF-441A-4651-9B17-01C2D6BA749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068576439"/>
                </p:ext>
              </p:extLst>
            </p:nvPr>
          </p:nvGraphicFramePr>
          <p:xfrm>
            <a:off x="998400" y="1160981"/>
            <a:ext cx="10195200" cy="49315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53BBF50-D331-49AD-B69C-E36A65047536}"/>
                </a:ext>
              </a:extLst>
            </p:cNvPr>
            <p:cNvSpPr/>
            <p:nvPr/>
          </p:nvSpPr>
          <p:spPr>
            <a:xfrm>
              <a:off x="2424701" y="3236360"/>
              <a:ext cx="8404261" cy="431514"/>
            </a:xfrm>
            <a:prstGeom prst="rect">
              <a:avLst/>
            </a:prstGeom>
            <a:solidFill>
              <a:srgbClr val="43B02A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IE" sz="1500" err="1">
                <a:solidFill>
                  <a:schemeClr val="bg1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E48AC5A-22B5-4FD8-B49D-E589ABF31467}"/>
                </a:ext>
              </a:extLst>
            </p:cNvPr>
            <p:cNvSpPr txBox="1"/>
            <p:nvPr/>
          </p:nvSpPr>
          <p:spPr>
            <a:xfrm>
              <a:off x="7172538" y="5423896"/>
              <a:ext cx="2455523" cy="53340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IE" sz="1000"/>
                <a:t>Biomethane price rang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99D941C-05E4-4AE0-A892-F46C12972B8E}"/>
                </a:ext>
              </a:extLst>
            </p:cNvPr>
            <p:cNvSpPr/>
            <p:nvPr/>
          </p:nvSpPr>
          <p:spPr>
            <a:xfrm>
              <a:off x="6661865" y="5423896"/>
              <a:ext cx="422953" cy="176373"/>
            </a:xfrm>
            <a:prstGeom prst="rect">
              <a:avLst/>
            </a:prstGeom>
            <a:solidFill>
              <a:srgbClr val="43B02A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IE" sz="1500" err="1">
                <a:solidFill>
                  <a:schemeClr val="bg1"/>
                </a:solidFill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BCDAB8CD-C105-4BC4-B700-788FE0C78C63}"/>
              </a:ext>
            </a:extLst>
          </p:cNvPr>
          <p:cNvSpPr txBox="1"/>
          <p:nvPr/>
        </p:nvSpPr>
        <p:spPr>
          <a:xfrm>
            <a:off x="1883663" y="5936408"/>
            <a:ext cx="6373368" cy="312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IE" sz="1000" b="1">
                <a:solidFill>
                  <a:schemeClr val="tx2"/>
                </a:solidFill>
              </a:rPr>
              <a:t>Source: Intercontinental Exchange, KPMG Analysi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90F53A5-4881-4F7A-8797-98AFD596A8AD}"/>
              </a:ext>
            </a:extLst>
          </p:cNvPr>
          <p:cNvSpPr txBox="1"/>
          <p:nvPr/>
        </p:nvSpPr>
        <p:spPr>
          <a:xfrm>
            <a:off x="5101122" y="5459103"/>
            <a:ext cx="903929" cy="2667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IE" sz="1000"/>
              <a:t>NBP € c/kWh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C1F84A8-EFBD-43FA-8C22-4ED569321785}"/>
              </a:ext>
            </a:extLst>
          </p:cNvPr>
          <p:cNvSpPr/>
          <p:nvPr/>
        </p:nvSpPr>
        <p:spPr>
          <a:xfrm>
            <a:off x="4610366" y="5499664"/>
            <a:ext cx="444646" cy="6378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IE" sz="15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6477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49B47-D2D9-4C54-82D8-585AB5559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Why the time is right for Biomethane in Ireland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20340C92-C663-4D09-BD69-12B460934A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387236"/>
              </p:ext>
            </p:extLst>
          </p:nvPr>
        </p:nvGraphicFramePr>
        <p:xfrm>
          <a:off x="998400" y="1052184"/>
          <a:ext cx="10463287" cy="5377375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5128080">
                  <a:extLst>
                    <a:ext uri="{9D8B030D-6E8A-4147-A177-3AD203B41FA5}">
                      <a16:colId xmlns:a16="http://schemas.microsoft.com/office/drawing/2014/main" val="757457511"/>
                    </a:ext>
                  </a:extLst>
                </a:gridCol>
                <a:gridCol w="5335207">
                  <a:extLst>
                    <a:ext uri="{9D8B030D-6E8A-4147-A177-3AD203B41FA5}">
                      <a16:colId xmlns:a16="http://schemas.microsoft.com/office/drawing/2014/main" val="197051380"/>
                    </a:ext>
                  </a:extLst>
                </a:gridCol>
              </a:tblGrid>
              <a:tr h="324584">
                <a:tc>
                  <a:txBody>
                    <a:bodyPr/>
                    <a:lstStyle/>
                    <a:p>
                      <a:r>
                        <a:rPr lang="en-IE" sz="1400" b="1">
                          <a:solidFill>
                            <a:schemeClr val="tx2"/>
                          </a:solidFill>
                        </a:rPr>
                        <a:t>Historic Challe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E" sz="1400" b="1">
                          <a:solidFill>
                            <a:schemeClr val="tx2"/>
                          </a:solidFill>
                        </a:rPr>
                        <a:t>What’s Changed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1811174"/>
                  </a:ext>
                </a:extLst>
              </a:tr>
              <a:tr h="617016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Economics - focus has historically prioritised the decarbonisation of electricity due to lower abatement cost, decarbonising heat received less attention and support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he need to reduce emissions from all sectors - biomethane is the lowest cost option to decarbonise many high temperature heat applications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7062092"/>
                  </a:ext>
                </a:extLst>
              </a:tr>
              <a:tr h="6636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tx1"/>
                          </a:solidFill>
                        </a:rPr>
                        <a:t>Historically advocacy primarily from AD technology sector or developers – not a compelling option to Governmen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tx1"/>
                          </a:solidFill>
                        </a:rPr>
                        <a:t>Industry is now demanding a supply of biomethane fuel in order to achieve their decarbonisation target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9742275"/>
                  </a:ext>
                </a:extLst>
              </a:tr>
              <a:tr h="651278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Limited regulatory pressure / Government appetit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EU has set aggressive targets for both decarbonisation of heat and the production of biomethane</a:t>
                      </a:r>
                    </a:p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Security of supply concerns has increased interes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7928092"/>
                  </a:ext>
                </a:extLst>
              </a:tr>
              <a:tr h="764958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Cautious government approach due to nervousness of impacting agri-sector dynamic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Studies have shown that Ireland has additional, untapped feedstock capacity which can assist farm-level decarbonisation and also reduce nitrogen based fertiliser usage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3714283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Government unwilling to lock into long-term subsidies to incentivise investments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he proposed Renewable Heat Obligation (RHO) scheme will provide long term support while placing no burden on Government fund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30313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Developing an new energy sector, with the risk of unintended, negative consequences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There are now over 10,000 AD plants operating across Europe, with 80 operating in NI alone.   Can work if done righ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1500312"/>
                  </a:ext>
                </a:extLst>
              </a:tr>
              <a:tr h="714791"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A challenging sector to secure fund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IE" sz="1400">
                          <a:solidFill>
                            <a:schemeClr val="bg1">
                              <a:lumMod val="75000"/>
                            </a:schemeClr>
                          </a:solidFill>
                        </a:rPr>
                        <a:t>Significant increase in capital chasing this sector – AD now considered a mainstream technolog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1246552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62029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49B47-D2D9-4C54-82D8-585AB5559A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Industrial Demand for Biometha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A821A50-067A-41A1-B448-7A592C85BFB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133" y="2334225"/>
            <a:ext cx="1514237" cy="65990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1ED85A0-49F4-4625-A182-A32D09B6496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56" r="713"/>
          <a:stretch/>
        </p:blipFill>
        <p:spPr>
          <a:xfrm>
            <a:off x="1225555" y="4084802"/>
            <a:ext cx="1223962" cy="67744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B09A1E0-2A3E-4627-B9B3-E02FF8A57F3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2666" y="4034655"/>
            <a:ext cx="1254991" cy="77774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6C07279-A75E-466A-A1FC-62606D2A4DD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5"/>
          <a:stretch/>
        </p:blipFill>
        <p:spPr>
          <a:xfrm>
            <a:off x="1206380" y="3298347"/>
            <a:ext cx="1280905" cy="4164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3F79752-2776-4900-976B-A6247185B37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8692" y="4084802"/>
            <a:ext cx="1043413" cy="62604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0A29B85-F8CF-4D94-A3EC-D3DE98D717A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98157" y="3256849"/>
            <a:ext cx="1202563" cy="54919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3F19652-B5E3-4028-AF68-915E32965FB2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8782" y="2384161"/>
            <a:ext cx="1152054" cy="56003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1292CB8-9177-4CF0-8577-B2DA825731F9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98773" y="2247724"/>
            <a:ext cx="1558021" cy="832904"/>
          </a:xfrm>
          <a:prstGeom prst="rect">
            <a:avLst/>
          </a:prstGeom>
        </p:spPr>
      </p:pic>
      <p:pic>
        <p:nvPicPr>
          <p:cNvPr id="12290" name="Picture 2" descr="Flynn's Tomatoes | Dublin">
            <a:extLst>
              <a:ext uri="{FF2B5EF4-FFF2-40B4-BE49-F238E27FC236}">
                <a16:creationId xmlns:a16="http://schemas.microsoft.com/office/drawing/2014/main" id="{763D147B-E587-4DE3-931B-9F72A350F0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341" b="29080"/>
          <a:stretch/>
        </p:blipFill>
        <p:spPr bwMode="auto">
          <a:xfrm>
            <a:off x="7668692" y="3278724"/>
            <a:ext cx="1099853" cy="501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 descr="BuJo Burger Joint (@BuJoBurgerJoint) / Twitter">
            <a:extLst>
              <a:ext uri="{FF2B5EF4-FFF2-40B4-BE49-F238E27FC236}">
                <a16:creationId xmlns:a16="http://schemas.microsoft.com/office/drawing/2014/main" id="{F326FC65-52B5-4327-BDF5-7531FA21D5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0000" b="90000" l="10000" r="90000">
                        <a14:foregroundMark x1="39111" y1="56889" x2="39111" y2="56889"/>
                        <a14:foregroundMark x1="38222" y1="53778" x2="38222" y2="53778"/>
                        <a14:foregroundMark x1="64889" y1="58667" x2="64889" y2="58667"/>
                        <a14:foregroundMark x1="66222" y1="62667" x2="36444" y2="5377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41468" y="3822243"/>
            <a:ext cx="1202564" cy="1202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4" name="Picture 6">
            <a:extLst>
              <a:ext uri="{FF2B5EF4-FFF2-40B4-BE49-F238E27FC236}">
                <a16:creationId xmlns:a16="http://schemas.microsoft.com/office/drawing/2014/main" id="{C119C2B4-A529-4C94-BA9A-EDEF414DD6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35863" y="3429000"/>
            <a:ext cx="1267464" cy="272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6" name="Picture 8" descr="What's Happening - Tesco Ireland">
            <a:extLst>
              <a:ext uri="{FF2B5EF4-FFF2-40B4-BE49-F238E27FC236}">
                <a16:creationId xmlns:a16="http://schemas.microsoft.com/office/drawing/2014/main" id="{4BC7D95D-4E1B-4A12-A18F-19D82F1C8E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64143" y="4208961"/>
            <a:ext cx="1227280" cy="377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Aurivo Co-operative Society Limited | LinkedIn">
            <a:extLst>
              <a:ext uri="{FF2B5EF4-FFF2-40B4-BE49-F238E27FC236}">
                <a16:creationId xmlns:a16="http://schemas.microsoft.com/office/drawing/2014/main" id="{D143709B-CDFA-4973-B24D-346AE57C37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55911" y="2479982"/>
            <a:ext cx="1525414" cy="427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37C8CE8A-F766-432E-9F56-F2FB786373F7}"/>
              </a:ext>
            </a:extLst>
          </p:cNvPr>
          <p:cNvSpPr/>
          <p:nvPr/>
        </p:nvSpPr>
        <p:spPr>
          <a:xfrm>
            <a:off x="1005279" y="1340431"/>
            <a:ext cx="1701700" cy="454660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144000" rIns="54610" bIns="54610" rtlCol="0" anchor="t" anchorCtr="0"/>
          <a:lstStyle/>
          <a:p>
            <a:pPr algn="ctr"/>
            <a:r>
              <a:rPr lang="en-IE" b="1">
                <a:solidFill>
                  <a:schemeClr val="tx1"/>
                </a:solidFill>
              </a:rPr>
              <a:t>Dairy</a:t>
            </a:r>
            <a:endParaRPr lang="en-IE" sz="1500" b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4CE9354-B86C-4E0F-9811-BD34031B66AB}"/>
              </a:ext>
            </a:extLst>
          </p:cNvPr>
          <p:cNvSpPr/>
          <p:nvPr/>
        </p:nvSpPr>
        <p:spPr>
          <a:xfrm>
            <a:off x="3126934" y="1340431"/>
            <a:ext cx="1701700" cy="454660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144000" rIns="54610" bIns="54610" rtlCol="0" anchor="t" anchorCtr="0"/>
          <a:lstStyle/>
          <a:p>
            <a:pPr algn="ctr"/>
            <a:r>
              <a:rPr lang="en-IE" b="1">
                <a:solidFill>
                  <a:schemeClr val="tx1"/>
                </a:solidFill>
              </a:rPr>
              <a:t>Beverages</a:t>
            </a:r>
            <a:endParaRPr lang="en-IE" sz="1500" b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4E45A4B-6F4C-46F4-A7FA-F07BD8CBAF1C}"/>
              </a:ext>
            </a:extLst>
          </p:cNvPr>
          <p:cNvSpPr/>
          <p:nvPr/>
        </p:nvSpPr>
        <p:spPr>
          <a:xfrm>
            <a:off x="5248589" y="1340431"/>
            <a:ext cx="1701700" cy="454660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144000" rIns="54610" bIns="54610" rtlCol="0" anchor="t" anchorCtr="0"/>
          <a:lstStyle/>
          <a:p>
            <a:pPr algn="ctr"/>
            <a:r>
              <a:rPr lang="en-IE" b="1">
                <a:solidFill>
                  <a:schemeClr val="tx1"/>
                </a:solidFill>
              </a:rPr>
              <a:t>Nutrition</a:t>
            </a:r>
            <a:endParaRPr lang="en-IE" sz="1500" b="1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6DF2CA4-04F3-4891-9A8E-02FEC5156D34}"/>
              </a:ext>
            </a:extLst>
          </p:cNvPr>
          <p:cNvSpPr/>
          <p:nvPr/>
        </p:nvSpPr>
        <p:spPr>
          <a:xfrm>
            <a:off x="7370244" y="1340431"/>
            <a:ext cx="1701700" cy="4526515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144000" rIns="54610" bIns="54610" rtlCol="0" anchor="t" anchorCtr="0"/>
          <a:lstStyle/>
          <a:p>
            <a:pPr algn="ctr"/>
            <a:r>
              <a:rPr lang="en-IE" b="1">
                <a:solidFill>
                  <a:schemeClr val="tx1"/>
                </a:solidFill>
              </a:rPr>
              <a:t>Agricultur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4C20F4A-E68B-4EE6-B03C-4960931471E6}"/>
              </a:ext>
            </a:extLst>
          </p:cNvPr>
          <p:cNvSpPr/>
          <p:nvPr/>
        </p:nvSpPr>
        <p:spPr>
          <a:xfrm>
            <a:off x="9491900" y="1330325"/>
            <a:ext cx="1701700" cy="454660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144000" rIns="54610" bIns="54610" rtlCol="0" anchor="t" anchorCtr="0"/>
          <a:lstStyle/>
          <a:p>
            <a:pPr algn="ctr"/>
            <a:r>
              <a:rPr lang="en-IE" b="1">
                <a:solidFill>
                  <a:schemeClr val="tx1"/>
                </a:solidFill>
              </a:rPr>
              <a:t>Others</a:t>
            </a:r>
            <a:endParaRPr lang="en-IE" sz="1500" b="1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A44FFE2-F54F-4E3B-8BBF-ED30180D80C0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6227" y="2370050"/>
            <a:ext cx="1293047" cy="588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5261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USED" val="KPMGFONT"/>
  <p:tag name="CREATEDBY" val="Global PowerPoint Toolbar"/>
  <p:tag name="TOOLBARVERSION" val="5.30a"/>
  <p:tag name="TYPE" val="ScreenWide"/>
  <p:tag name="KEYWORD" val="SCREENWIDE"/>
  <p:tag name="TEMPLATEVERSION" val="17/07/2017 11:56:0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PMG Widescreen [16:9] Feb 2022">
  <a:themeElements>
    <a:clrScheme name="KPMG_MAR">
      <a:dk1>
        <a:srgbClr val="000000"/>
      </a:dk1>
      <a:lt1>
        <a:srgbClr val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algn="l">
          <a:spcAft>
            <a:spcPts val="600"/>
          </a:spcAft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Presentation2" id="{6F9D073B-8B7E-4CCD-B454-11736666544F}" vid="{CB0E54E2-5236-4DAF-8398-713F6E87C91A}"/>
    </a:ext>
  </a:extLst>
</a:theme>
</file>

<file path=ppt/theme/theme2.xml><?xml version="1.0" encoding="utf-8"?>
<a:theme xmlns:a="http://schemas.openxmlformats.org/drawingml/2006/main" name="1_KPMG Widescreen [16:9] Feb 2022">
  <a:themeElements>
    <a:clrScheme name="KPMG_MAR">
      <a:dk1>
        <a:srgbClr val="000000"/>
      </a:dk1>
      <a:lt1>
        <a:srgbClr val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algn="l">
          <a:spcAft>
            <a:spcPts val="600"/>
          </a:spcAft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Presentation2" id="{54978B57-5385-4442-8ABE-D0E7D9BCDD82}" vid="{AB9C9FD2-0B8F-4D8E-AD5B-A03025396FEC}"/>
    </a:ext>
  </a:extLst>
</a:theme>
</file>

<file path=ppt/theme/theme3.xml><?xml version="1.0" encoding="utf-8"?>
<a:theme xmlns:a="http://schemas.openxmlformats.org/drawingml/2006/main" name="2_KPMG Widescreen [16:9] Feb 2022">
  <a:themeElements>
    <a:clrScheme name="KPMG_MAR">
      <a:dk1>
        <a:srgbClr val="000000"/>
      </a:dk1>
      <a:lt1>
        <a:srgbClr val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algn="l">
          <a:spcAft>
            <a:spcPts val="600"/>
          </a:spcAft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Presentation2" id="{6F9D073B-8B7E-4CCD-B454-11736666544F}" vid="{CB0E54E2-5236-4DAF-8398-713F6E87C91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PMG Global Brand Refresh_Widescreen-Revised_v10</Template>
  <TotalTime>2</TotalTime>
  <Words>3097</Words>
  <Application>Microsoft Macintosh PowerPoint</Application>
  <PresentationFormat>Widescreen</PresentationFormat>
  <Paragraphs>371</Paragraphs>
  <Slides>29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7" baseType="lpstr">
      <vt:lpstr>KPMG Bold</vt:lpstr>
      <vt:lpstr>Calibri</vt:lpstr>
      <vt:lpstr>Arial</vt:lpstr>
      <vt:lpstr>Wingdings</vt:lpstr>
      <vt:lpstr>KPMG Widescreen [16:9] Feb 2022</vt:lpstr>
      <vt:lpstr>1_KPMG Widescreen [16:9] Feb 2022</vt:lpstr>
      <vt:lpstr>2_KPMG Widescreen [16:9] Feb 2022</vt:lpstr>
      <vt:lpstr>think-cell Slide</vt:lpstr>
      <vt:lpstr>Funding AD Biomethane Development</vt:lpstr>
      <vt:lpstr>Making the case for biomethane in Ireland</vt:lpstr>
      <vt:lpstr>Rapid growth is needed to achieve Ireland’s biomethane ambition</vt:lpstr>
      <vt:lpstr>Why the time is right for biomethane in Ireland</vt:lpstr>
      <vt:lpstr>Biomethane is an expensive option for renewable electricity</vt:lpstr>
      <vt:lpstr>Biomethane can be the cheapest option to decarbonise heat</vt:lpstr>
      <vt:lpstr>Recently biomethane has become cheaper than fossil gas</vt:lpstr>
      <vt:lpstr>Why the time is right for Biomethane in Ireland</vt:lpstr>
      <vt:lpstr>Industrial Demand for Biomethane</vt:lpstr>
      <vt:lpstr>Why the time is right for Biomethane in Ireland</vt:lpstr>
      <vt:lpstr>Biomethane production has been growing steadily in Europe</vt:lpstr>
      <vt:lpstr>RePowerEU set ambitious targets for biomethane production</vt:lpstr>
      <vt:lpstr>Why the time is right for Biomethane in Ireland</vt:lpstr>
      <vt:lpstr>Experience from Northern Ireland’s agri-sector</vt:lpstr>
      <vt:lpstr>Why the time is right for Biomethane in Ireland</vt:lpstr>
      <vt:lpstr>Renewable Heat Obligation  (RHO) to be introduced by 2024</vt:lpstr>
      <vt:lpstr>Why the time is right for Biomethane in Ireland</vt:lpstr>
      <vt:lpstr>80 Operational AD Plants in NI</vt:lpstr>
      <vt:lpstr>Increasing Grass Production without Increasing Emissions</vt:lpstr>
      <vt:lpstr>Why the time is right for Biomethane in Ireland</vt:lpstr>
      <vt:lpstr>Biomethane Funding</vt:lpstr>
      <vt:lpstr>Biomethane plant economics &amp; funding</vt:lpstr>
      <vt:lpstr>Green Finance is in Vogue</vt:lpstr>
      <vt:lpstr>Global investment in low carbon tech/renewables is growing</vt:lpstr>
      <vt:lpstr>With vast flows of Private Equity capital…</vt:lpstr>
      <vt:lpstr>Corporates are providing funding to support their supply chains…</vt:lpstr>
      <vt:lpstr>Biomethane Funding Options</vt:lpstr>
      <vt:lpstr>Conclusions</vt:lpstr>
      <vt:lpstr>PowerPoint Presentation</vt:lpstr>
    </vt:vector>
  </TitlesOfParts>
  <Company>KPMG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de screen template</dc:title>
  <dc:creator>Philip Connolly</dc:creator>
  <cp:lastModifiedBy>Microsoft Office User</cp:lastModifiedBy>
  <cp:revision>4</cp:revision>
  <dcterms:created xsi:type="dcterms:W3CDTF">2022-03-14T16:42:38Z</dcterms:created>
  <dcterms:modified xsi:type="dcterms:W3CDTF">2022-11-15T10:41:42Z</dcterms:modified>
  <cp:category>KPMG Public</cp:category>
</cp:coreProperties>
</file>